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147472600" r:id="rId2"/>
    <p:sldId id="2538" r:id="rId3"/>
    <p:sldId id="2147472615" r:id="rId4"/>
    <p:sldId id="2147472632" r:id="rId5"/>
    <p:sldId id="390" r:id="rId6"/>
    <p:sldId id="396" r:id="rId7"/>
    <p:sldId id="2147472634" r:id="rId8"/>
    <p:sldId id="2147472633" r:id="rId9"/>
    <p:sldId id="2147472636" r:id="rId10"/>
    <p:sldId id="2147472635" r:id="rId11"/>
    <p:sldId id="214747262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les Enablement" id="{8806E88D-7D3F-475C-A6F5-14A5B6CD3EBE}">
          <p14:sldIdLst>
            <p14:sldId id="2147472600"/>
            <p14:sldId id="2538"/>
            <p14:sldId id="2147472615"/>
            <p14:sldId id="2147472632"/>
            <p14:sldId id="390"/>
            <p14:sldId id="396"/>
            <p14:sldId id="2147472634"/>
            <p14:sldId id="2147472633"/>
            <p14:sldId id="2147472636"/>
            <p14:sldId id="2147472635"/>
            <p14:sldId id="2147472626"/>
          </p14:sldIdLst>
        </p14:section>
        <p14:section name="Appendix" id="{363AED87-CE6B-44DE-A073-BB9E2E4C468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ryden, Shannon" initials="DS" lastIdx="1" clrIdx="0">
    <p:extLst>
      <p:ext uri="{19B8F6BF-5375-455C-9EA6-DF929625EA0E}">
        <p15:presenceInfo xmlns:p15="http://schemas.microsoft.com/office/powerpoint/2012/main" userId="S-1-5-21-1407069837-2091007605-538272213-39364416" providerId="AD"/>
      </p:ext>
    </p:extLst>
  </p:cmAuthor>
  <p:cmAuthor id="2" name="Strom, Hilary" initials="SH" lastIdx="1" clrIdx="1">
    <p:extLst>
      <p:ext uri="{19B8F6BF-5375-455C-9EA6-DF929625EA0E}">
        <p15:presenceInfo xmlns:p15="http://schemas.microsoft.com/office/powerpoint/2012/main" userId="S-1-5-21-1407069837-2091007605-538272213-413045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792D"/>
    <a:srgbClr val="7F7F7F"/>
    <a:srgbClr val="FFC000"/>
    <a:srgbClr val="F46DBA"/>
    <a:srgbClr val="F9FAFA"/>
    <a:srgbClr val="FFB666"/>
    <a:srgbClr val="232F3E"/>
    <a:srgbClr val="FF0000"/>
    <a:srgbClr val="00A5DC"/>
    <a:srgbClr val="FF4E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22" autoAdjust="0"/>
    <p:restoredTop sz="87942" autoAdjust="0"/>
  </p:normalViewPr>
  <p:slideViewPr>
    <p:cSldViewPr snapToGrid="0">
      <p:cViewPr varScale="1">
        <p:scale>
          <a:sx n="93" d="100"/>
          <a:sy n="93" d="100"/>
        </p:scale>
        <p:origin x="1480" y="208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9" d="100"/>
          <a:sy n="99" d="100"/>
        </p:scale>
        <p:origin x="427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30B3F9-42E9-426B-B3D2-D6012D7491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C71F7584-9745-40DA-BD49-9A41A97B2D2E}" type="slidenum">
              <a:rPr lang="en-US" sz="1000" smtClean="0">
                <a:latin typeface="Amazon Ember Display" panose="020F0603020204020204" pitchFamily="34" charset="0"/>
              </a:rPr>
              <a:pPr algn="ctr"/>
              <a:t>‹#›</a:t>
            </a:fld>
            <a:endParaRPr lang="en-US" sz="1000" dirty="0">
              <a:latin typeface="Amazon Ember Display" panose="020F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25300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457200"/>
            <a:ext cx="5981700" cy="33647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19100" y="4197679"/>
            <a:ext cx="6000750" cy="432880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latin typeface="Amazon Ember Display" panose="020F0603020204020204" pitchFamily="34" charset="0"/>
              </a:defRPr>
            </a:lvl1pPr>
          </a:lstStyle>
          <a:p>
            <a:fld id="{A3D89E5F-BEEF-42A1-A57B-E5A736D5119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871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200" kern="1200">
        <a:solidFill>
          <a:schemeClr val="tx1"/>
        </a:solidFill>
        <a:latin typeface="Amazon Ember Display" panose="020F0603020204020204" pitchFamily="34" charset="0"/>
        <a:ea typeface="+mn-ea"/>
        <a:cs typeface="+mn-cs"/>
      </a:defRPr>
    </a:lvl1pPr>
    <a:lvl2pPr marL="225425" indent="-106363" algn="l" defTabSz="914400" rtl="0" eaLnBrk="1" latinLnBrk="0" hangingPunct="1">
      <a:spcAft>
        <a:spcPts val="3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mazon Ember Display" panose="020F0603020204020204" pitchFamily="34" charset="0"/>
        <a:ea typeface="+mn-ea"/>
        <a:cs typeface="+mn-cs"/>
      </a:defRPr>
    </a:lvl2pPr>
    <a:lvl3pPr marL="463550" indent="-119063" algn="l" defTabSz="914400" rtl="0" eaLnBrk="1" latinLnBrk="0" hangingPunct="1">
      <a:spcAft>
        <a:spcPts val="3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mazon Ember Display" panose="020F0603020204020204" pitchFamily="34" charset="0"/>
        <a:ea typeface="+mn-ea"/>
        <a:cs typeface="+mn-cs"/>
      </a:defRPr>
    </a:lvl3pPr>
    <a:lvl4pPr marL="747713" indent="-119063" algn="l" defTabSz="914400" rtl="0" eaLnBrk="1" latinLnBrk="0" hangingPunct="1">
      <a:spcAft>
        <a:spcPts val="3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mazon Ember Display" panose="020F0603020204020204" pitchFamily="34" charset="0"/>
        <a:ea typeface="+mn-ea"/>
        <a:cs typeface="+mn-cs"/>
      </a:defRPr>
    </a:lvl4pPr>
    <a:lvl5pPr marL="973138" indent="-117475" algn="l" defTabSz="914400" rtl="0" eaLnBrk="1" latinLnBrk="0" hangingPunct="1">
      <a:spcAft>
        <a:spcPts val="3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mazon Ember Display" panose="020F06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160" userDrawn="1">
          <p15:clr>
            <a:srgbClr val="F26B43"/>
          </p15:clr>
        </p15:guide>
        <p15:guide id="2" orient="horz" pos="2880" userDrawn="1">
          <p15:clr>
            <a:srgbClr val="F26B43"/>
          </p15:clr>
        </p15:guide>
        <p15:guide id="3" pos="264" userDrawn="1">
          <p15:clr>
            <a:srgbClr val="F26B43"/>
          </p15:clr>
        </p15:guide>
        <p15:guide id="4" pos="4056" userDrawn="1">
          <p15:clr>
            <a:srgbClr val="F26B43"/>
          </p15:clr>
        </p15:guide>
        <p15:guide id="5" orient="horz" pos="288" userDrawn="1">
          <p15:clr>
            <a:srgbClr val="F26B43"/>
          </p15:clr>
        </p15:guide>
        <p15:guide id="6" orient="horz" pos="264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C3F2ED-74C5-7D4F-8560-0CC253E9A4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azon Ember Regular" charset="0"/>
                <a:ea typeface="+mn-ea"/>
                <a:cs typeface="+mn-cs"/>
              </a:rPr>
              <a:pPr marL="0" marR="0" lvl="0" indent="0" algn="r" defTabSz="731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azon Ember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1655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MX" sz="1000" dirty="0"/>
              <a:t>Cuanto tiempo aproximadamente le invierten a una oportunida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000" dirty="0"/>
              <a:t>C</a:t>
            </a:r>
            <a:r>
              <a:rPr lang="en-MX" sz="1000" dirty="0"/>
              <a:t>uanto tiempo pasa hasta entregar el primer númer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000" dirty="0"/>
              <a:t>C</a:t>
            </a:r>
            <a:r>
              <a:rPr lang="en-MX" sz="1000" dirty="0"/>
              <a:t>uanto tiempo pasa para conseguir la aprobación de un assessment</a:t>
            </a:r>
          </a:p>
          <a:p>
            <a:endParaRPr lang="en-MX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658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062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AE011-472B-458C-BFD7-DD669715A79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200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282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7850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457200"/>
            <a:ext cx="5981700" cy="3363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MX" dirty="0"/>
              <a:t> </a:t>
            </a:r>
            <a:r>
              <a:rPr lang="en-US" sz="12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Strong verbal and written </a:t>
            </a:r>
            <a:r>
              <a:rPr lang="en-US" sz="9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ommunication skills</a:t>
            </a:r>
          </a:p>
          <a:p>
            <a:endParaRPr lang="en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068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D89E5F-BEEF-42A1-A57B-E5A736D5119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150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3.emf"/><Relationship Id="rId5" Type="http://schemas.openxmlformats.org/officeDocument/2006/relationships/tags" Target="../tags/tag10.xml"/><Relationship Id="rId10" Type="http://schemas.openxmlformats.org/officeDocument/2006/relationships/image" Target="../media/image22.emf"/><Relationship Id="rId4" Type="http://schemas.openxmlformats.org/officeDocument/2006/relationships/tags" Target="../tags/tag9.xml"/><Relationship Id="rId9" Type="http://schemas.openxmlformats.org/officeDocument/2006/relationships/oleObject" Target="../embeddings/oleObject1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23.emf"/><Relationship Id="rId5" Type="http://schemas.openxmlformats.org/officeDocument/2006/relationships/tags" Target="../tags/tag17.xml"/><Relationship Id="rId10" Type="http://schemas.openxmlformats.org/officeDocument/2006/relationships/image" Target="../media/image2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2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260DE7-04AD-4C12-9D26-5A8DB9DF78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474F9FA-D015-474A-AB83-4D7AE427C6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</p:spTree>
    <p:extLst>
      <p:ext uri="{BB962C8B-B14F-4D97-AF65-F5344CB8AC3E}">
        <p14:creationId xmlns:p14="http://schemas.microsoft.com/office/powerpoint/2010/main" val="35109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 userDrawn="1">
          <p15:clr>
            <a:srgbClr val="FBAE40"/>
          </p15:clr>
        </p15:guide>
        <p15:guide id="3" orient="horz" pos="2736" userDrawn="1">
          <p15:clr>
            <a:srgbClr val="FBAE40"/>
          </p15:clr>
        </p15:guide>
        <p15:guide id="4" orient="horz" pos="1272" userDrawn="1">
          <p15:clr>
            <a:srgbClr val="FBAE40"/>
          </p15:clr>
        </p15:guide>
        <p15:guide id="5" orient="horz" pos="172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1E744232-535D-480C-9DBF-589A0F4786F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A22A18-A983-4477-9CE2-E889A7803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3809E-4D4E-C945-902A-7DD2DF6A7B18}" type="datetime1">
              <a:rPr lang="en-US" smtClean="0"/>
              <a:t>4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6B6389-19E6-4677-81FB-25CCEB0E3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907AE9-2A8E-446F-AC5C-E522F1C0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D80789-884C-CE0A-59B9-A3F82EE5157A}"/>
              </a:ext>
            </a:extLst>
          </p:cNvPr>
          <p:cNvSpPr txBox="1"/>
          <p:nvPr userDrawn="1"/>
        </p:nvSpPr>
        <p:spPr>
          <a:xfrm>
            <a:off x="1562582" y="416689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</p:spTree>
    <p:extLst>
      <p:ext uri="{BB962C8B-B14F-4D97-AF65-F5344CB8AC3E}">
        <p14:creationId xmlns:p14="http://schemas.microsoft.com/office/powerpoint/2010/main" val="142579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0F9EE6AF-6459-4B3A-9F6A-421E592890B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78FF671-5B3B-BC5F-C700-03D9DAB65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X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6B5CA34-3B94-20B4-2153-2564C1E54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F7498-417D-4745-9CAD-8718DE78FE52}" type="datetime1">
              <a:rPr lang="en-US" smtClean="0"/>
              <a:pPr/>
              <a:t>4/24/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FDF47CE-6B67-8C9A-ACD9-F8B53A151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0B8D615-5787-718C-A0F8-3B660DEB4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12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E5E4A50-58AB-41B2-9F86-A8A832F565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with ar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F00575-76B9-4D8B-9903-136ED9A42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3E044-E072-2B4E-BFFC-0146FA9B6FE7}" type="datetime1">
              <a:rPr lang="en-US" smtClean="0"/>
              <a:t>4/24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CDB515-1F55-4916-8897-BD5A83C12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0F2630-6040-4D96-BE1B-D7C27F2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6CA99D-F312-4896-9CB8-88D2E4921513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1CAE95-5DCF-4586-87BE-3A8F905DE3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C8CF9-BF86-4458-BFA4-38F0F2DB98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subtitle layou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6213DF-CEC6-4F46-9CD4-5ED4A416AF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12CB8C-58A4-4758-8C91-E8641A9F6DC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A9F4E3B-1942-C04A-96ED-CBB9A376700D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444248-408B-4052-8B56-17F469F98E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78479-5E5D-4B94-9958-5C40D64BED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20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 userDrawn="1">
          <p15:clr>
            <a:srgbClr val="9FCC3B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86B726-34C0-4C1C-A252-97930DC77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2FC72-B011-5D4E-9FDD-F83A5ADE7E91}" type="datetime1">
              <a:rPr lang="en-US" smtClean="0"/>
              <a:t>4/24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3103B0-BAC9-4248-BF05-F8F64F81D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B167B-71A0-4735-93B6-5A034F89F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7EDA61-DA92-6A45-5ADF-F43257697F5B}"/>
              </a:ext>
            </a:extLst>
          </p:cNvPr>
          <p:cNvSpPr txBox="1"/>
          <p:nvPr userDrawn="1"/>
        </p:nvSpPr>
        <p:spPr>
          <a:xfrm>
            <a:off x="1649896" y="367748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5520D5-5FFC-3C37-C771-DB807A2A41CC}"/>
              </a:ext>
            </a:extLst>
          </p:cNvPr>
          <p:cNvSpPr txBox="1"/>
          <p:nvPr userDrawn="1"/>
        </p:nvSpPr>
        <p:spPr>
          <a:xfrm>
            <a:off x="1341783" y="417443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</p:spTree>
    <p:extLst>
      <p:ext uri="{BB962C8B-B14F-4D97-AF65-F5344CB8AC3E}">
        <p14:creationId xmlns:p14="http://schemas.microsoft.com/office/powerpoint/2010/main" val="24933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D48CE032-408F-48DC-98F2-2A1E5216F4F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02A07-9279-4389-95B8-CFF5307F9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34E3C5-330F-2D40-943B-5649E099AC77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4D072-A634-4E51-88E3-AFF4BBF53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391B74-659E-4EB1-8DB0-B962093F0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32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bullete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28ABEB-87DF-4979-B8D5-38D09C158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53A37-3933-324D-9550-C146DAD2C6AB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DE3A9-1F3C-45F4-9F53-543C4B62D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7DE2B-5658-4ECD-9AB5-497E1D05E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9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33600"/>
            <a:ext cx="10972800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/>
            </a:lvl1pPr>
            <a:lvl2pPr marL="285750" indent="0">
              <a:spcAft>
                <a:spcPts val="1800"/>
              </a:spcAft>
              <a:buNone/>
              <a:defRPr/>
            </a:lvl2pPr>
            <a:lvl3pPr marL="628650" indent="0">
              <a:spcAft>
                <a:spcPts val="1800"/>
              </a:spcAft>
              <a:buNone/>
              <a:defRPr/>
            </a:lvl3pPr>
            <a:lvl4pPr marL="914400" indent="0">
              <a:spcAft>
                <a:spcPts val="1800"/>
              </a:spcAft>
              <a:buNone/>
              <a:defRPr/>
            </a:lvl4pPr>
            <a:lvl5pPr marL="1143000" indent="0">
              <a:spcAft>
                <a:spcPts val="1800"/>
              </a:spcAft>
              <a:buNone/>
              <a:defRPr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2CBB3C-A513-466E-B53F-E5E578126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FB481-AB60-43A3-947D-B4556E8AB26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6A92C4-3991-4546-B9BF-0AD738BD844B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4A915F-71E7-41C4-907A-C8F1E2D177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AFA98-7BE3-48BD-9D56-EE4F5EEB23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 userDrawn="1">
          <p15:clr>
            <a:srgbClr val="9FCC3B"/>
          </p15:clr>
        </p15:guide>
        <p15:guide id="2" orient="horz" pos="1128" userDrawn="1">
          <p15:clr>
            <a:srgbClr val="9FCC3B"/>
          </p15:clr>
        </p15:guide>
        <p15:guide id="3" orient="horz" pos="134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, subtitle, and bulleted content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981200"/>
            <a:ext cx="10972800" cy="4229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73DDF9C-7004-4F4E-8707-3F8553760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57034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E9B8C3-36CA-4A97-B3FF-2FCDD97E1A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FE6CE57-CAF1-8B4B-BA5C-873ED0224EE8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EEE534-0361-47D3-8F92-2D7522A226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4270F7-2BCA-4119-8F34-BD17AB29E14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FE742E-FB17-26C7-1A6C-65A4FBE16CC7}"/>
              </a:ext>
            </a:extLst>
          </p:cNvPr>
          <p:cNvSpPr txBox="1"/>
          <p:nvPr userDrawn="1"/>
        </p:nvSpPr>
        <p:spPr>
          <a:xfrm>
            <a:off x="1747777" y="347241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</p:spTree>
    <p:extLst>
      <p:ext uri="{BB962C8B-B14F-4D97-AF65-F5344CB8AC3E}">
        <p14:creationId xmlns:p14="http://schemas.microsoft.com/office/powerpoint/2010/main" val="409417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 userDrawn="1">
          <p15:clr>
            <a:srgbClr val="9FCC3B"/>
          </p15:clr>
        </p15:guide>
        <p15:guide id="2" orient="horz" pos="1128" userDrawn="1">
          <p15:clr>
            <a:srgbClr val="9FCC3B"/>
          </p15:clr>
        </p15:guide>
        <p15:guide id="3" orient="horz" pos="124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5334000" cy="108584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, content, and imag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171700"/>
            <a:ext cx="5334000" cy="4038599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3B2582F-3FE9-42AC-8572-5C27E1A8E5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8400" y="0"/>
            <a:ext cx="5943600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(or paste) to insert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FE715-EC87-4B8E-9C5A-5A9D588BB97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95AC19C-C017-E94D-AC73-02AE4505C559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D5F6CD-847A-4EBE-9BAA-72269373C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C972F2-75D0-4C1D-B2C9-D4DDBBA7EBA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91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36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6E1332B-B9B3-44AE-8A49-2626B8091F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2353722-68E3-4138-8A81-F72F7531BC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68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0FFC0B7D-0F66-4A86-A093-5550C655BF0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499"/>
            <a:ext cx="5248276" cy="44958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8530C4-DC55-4C62-84CC-692229E78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7AFF-B9A3-6640-9520-00F78D684E19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4B8C68-5C05-4F96-9FF2-B531F83A5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81369-2E97-4C0B-9762-D765E2837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81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3E05C803-69B8-4D3C-AC7A-A69DB532EE7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34125" y="1743647"/>
            <a:ext cx="5248656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34125" y="2141554"/>
            <a:ext cx="5248656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96D1DC3-FE4E-4BC2-8CA3-4ED12B138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B8B273-0362-A44A-83F8-7BEB07154301}" type="datetime1">
              <a:rPr lang="en-US" smtClean="0"/>
              <a:t>4/24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24AE993-84F9-4B17-BB98-5AAAFAF3E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2CB0EC-BB93-4417-89BD-8704180EA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0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174364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2141554"/>
            <a:ext cx="3483864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B58E081-E30E-4521-AEC0-F25E96B2F80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BB4287B-3925-EE4E-A3E2-A2570EAE5FFA}" type="datetime1">
              <a:rPr lang="en-US" smtClean="0"/>
              <a:t>4/24/23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5D495B-454B-46AE-A85D-594A0B9FDD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05D547-F845-48C9-979D-DD2269BB9C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50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hree-column layout with subheadings and im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54068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54067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98536" y="3286697"/>
            <a:ext cx="3483864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98536" y="3656030"/>
            <a:ext cx="3483864" cy="2554270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FCFB8E8-C9F0-4143-9378-EA7F6C76665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303F300-2884-444D-96BE-BD244C2A9EDC}" type="datetime1">
              <a:rPr lang="en-US" smtClean="0"/>
              <a:t>4/24/23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7D1B458-DF75-45ED-B8CC-69A72676AB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BB1AFFF-5B96-4371-BCA2-F0CE04ECF7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1FED918-02AD-4AE8-80A2-5FBE2CA7CD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00631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A07340D-F35E-44B1-83E7-553D9B9F4A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45099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0E39C743-124E-4ED1-8147-16B673DA19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89568" y="1553369"/>
            <a:ext cx="1701800" cy="1481931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154642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Four column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D5D51-461F-4BF3-B83C-3319F4FEF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our-column layout with subhea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CA65A-3F20-4CCD-AE7B-297E975BC0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ED614-1324-4FC8-94DC-2BB58446A18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8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CE1A54-1330-4A91-B63D-5CFA63F9FFD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47471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49DC76-96C3-408F-9627-4D642BE1BDD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474719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B7A6272-EB3F-49FE-8293-213DA74B2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39839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4C7D216-B044-4089-8FA7-0E2598881E8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33984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70CBA4-9A7C-4AA6-80BD-DA7E39D565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4960" y="1743647"/>
            <a:ext cx="2377440" cy="369332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nter heading her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88FFD55-A15C-40BB-919A-289EBCA6F22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04960" y="2141554"/>
            <a:ext cx="2377440" cy="4068746"/>
          </a:xfrm>
        </p:spPr>
        <p:txBody>
          <a:bodyPr/>
          <a:lstStyle>
            <a:lvl1pPr marL="0" indent="0">
              <a:buNone/>
              <a:defRPr sz="1800"/>
            </a:lvl1pPr>
            <a:lvl2pPr marL="285750" indent="0">
              <a:buNone/>
              <a:defRPr sz="1600"/>
            </a:lvl2pPr>
            <a:lvl3pPr marL="628650" indent="0">
              <a:buNone/>
              <a:defRPr sz="1400"/>
            </a:lvl3pPr>
            <a:lvl4pPr marL="858838" indent="0">
              <a:buNone/>
              <a:defRPr sz="1200"/>
            </a:lvl4pPr>
            <a:lvl5pPr marL="1030288" indent="0">
              <a:buNone/>
              <a:defRPr sz="1200"/>
            </a:lvl5pPr>
          </a:lstStyle>
          <a:p>
            <a:pPr lvl="0"/>
            <a:r>
              <a:rPr lang="en-US" dirty="0"/>
              <a:t>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ADEB3A35-9813-4635-AE9D-3B9F6CA53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907D3A-B643-F84A-A5E5-214B6BB7EB1C}" type="datetime1">
              <a:rPr lang="en-US" smtClean="0"/>
              <a:t>4/24/23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617FC00-CD62-4B48-80A6-4E68401E96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F0D3C1B-0D24-4BCA-810C-31D050008A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66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C643E-9D53-435F-9BF5-216545CC1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7577"/>
            <a:ext cx="10972800" cy="535531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 dirty="0"/>
              <a:t>Picture with caption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0FD460-44A4-4368-BEE3-4B57384F2D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0300" y="1714500"/>
            <a:ext cx="5372100" cy="4495799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F8F45C-51B3-4A66-AF8A-1A15D125710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14501"/>
            <a:ext cx="5372101" cy="44958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AB3B1C-D783-464F-B951-6F802A18E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F3B3F-7E49-9D45-8D05-F240BC1EA0FB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B0C078-A6D5-4C61-A732-EC72F4B2E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CB9B7-F1A6-4E7E-9A44-4A1BF91C8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62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5DE8161-89FB-4C0E-91DC-BB077E8FD5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7998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76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046C62-58BE-4875-9CF1-988E9FBC8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82283-19AD-4542-A7CC-27DFC2C72FDA}" type="datetime1">
              <a:rPr lang="en-US" smtClean="0"/>
              <a:t>4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9F8648-DA5C-4249-B315-5FCC6764F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</p:spTree>
    <p:extLst>
      <p:ext uri="{BB962C8B-B14F-4D97-AF65-F5344CB8AC3E}">
        <p14:creationId xmlns:p14="http://schemas.microsoft.com/office/powerpoint/2010/main" val="395830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logo wa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B31D2-1E8A-4798-BD13-0606620FD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ustomer logo wall layou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046C62-58BE-4875-9CF1-988E9FBC8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B62D9-7B66-604C-8E3B-0199B6CCFED3}" type="datetime1">
              <a:rPr lang="en-US" smtClean="0"/>
              <a:t>4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9F8648-DA5C-4249-B315-5FCC6764F2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B4976B-D5E7-498C-99B5-7AA17CD1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B11844-EDC2-4BBC-9655-791EDDE7A288}"/>
              </a:ext>
            </a:extLst>
          </p:cNvPr>
          <p:cNvSpPr/>
          <p:nvPr userDrawn="1"/>
        </p:nvSpPr>
        <p:spPr>
          <a:xfrm>
            <a:off x="0" y="1682496"/>
            <a:ext cx="12192000" cy="42428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200"/>
              </a:spcAft>
            </a:pPr>
            <a:endParaRPr lang="en-US" dirty="0" err="1">
              <a:solidFill>
                <a:schemeClr val="tx1"/>
              </a:solidFill>
              <a:latin typeface="Amazon Ember Display" panose="020F0603020204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C4FF75-DBF1-4846-9B49-7424CC9B81D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90841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AA3F6BBD-CD6D-4350-B54B-BE6A362B5E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72359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F03249D0-599C-470C-AF38-A23174D881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18014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94B0474-3C2B-4A1F-847C-77DB6247676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645187" y="2194560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6B3D3A2C-F2FE-4E58-9179-32ACA63A87E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0841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D9DA6D6E-7CB2-43EC-A618-77FD5AC6869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72359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DD3BB708-38D6-4216-8681-62B5B129322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8014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D95B1CF7-30AD-446D-BB48-437779BB20A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45187" y="4059936"/>
            <a:ext cx="1828800" cy="10972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bg2"/>
                </a:solidFill>
              </a:defRPr>
            </a:lvl1pPr>
            <a:lvl2pPr marL="285750" indent="0">
              <a:buNone/>
              <a:defRPr/>
            </a:lvl2pPr>
            <a:lvl3pPr marL="628650" indent="0">
              <a:buNone/>
              <a:defRPr/>
            </a:lvl3pPr>
            <a:lvl4pPr marL="858838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US" dirty="0"/>
              <a:t>Click photo icon to add logo</a:t>
            </a:r>
          </a:p>
        </p:txBody>
      </p:sp>
    </p:spTree>
    <p:extLst>
      <p:ext uri="{BB962C8B-B14F-4D97-AF65-F5344CB8AC3E}">
        <p14:creationId xmlns:p14="http://schemas.microsoft.com/office/powerpoint/2010/main" val="9628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85F99-D5A6-480F-A674-A76B91945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10037-582D-9C4F-9EDA-A5DE32F4E309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6AC62E-3DD2-43DB-9AAA-009DDB88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9EF5C-832F-4F15-B95C-60157E7BD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2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AA13C1F-8C67-404B-B806-4F34A751F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A0E4D76-1B78-41A6-A9DC-5B3B502BB2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02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with subtitl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0"/>
            <a:ext cx="5248274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598"/>
            <a:ext cx="5248276" cy="4076700"/>
          </a:xfrm>
        </p:spPr>
        <p:txBody>
          <a:bodyPr/>
          <a:lstStyle>
            <a:lvl1pPr marL="0" indent="0">
              <a:spcAft>
                <a:spcPts val="1800"/>
              </a:spcAft>
              <a:buNone/>
              <a:defRPr sz="2400"/>
            </a:lvl1pPr>
            <a:lvl2pPr marL="285750" indent="0">
              <a:spcAft>
                <a:spcPts val="1800"/>
              </a:spcAft>
              <a:buNone/>
              <a:defRPr sz="2000"/>
            </a:lvl2pPr>
            <a:lvl3pPr marL="628650" indent="0">
              <a:spcAft>
                <a:spcPts val="1800"/>
              </a:spcAft>
              <a:buNone/>
              <a:defRPr sz="1800"/>
            </a:lvl3pPr>
            <a:lvl4pPr marL="914400" indent="0">
              <a:spcAft>
                <a:spcPts val="1800"/>
              </a:spcAft>
              <a:buNone/>
              <a:defRPr sz="1600"/>
            </a:lvl4pPr>
            <a:lvl5pPr marL="1143000" indent="0">
              <a:spcAft>
                <a:spcPts val="1800"/>
              </a:spcAft>
              <a:buNone/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9D7037-6014-41C7-AAA4-041F7B6E51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7882DCB-3FBB-4107-96D9-358054987D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A574BE1-A486-7D43-BD4E-DE57160EBF07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E50B923-C7E4-4160-8DCE-6199F6C43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6778C9A-1C98-4EC3-A992-895A3DF0E6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49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 userDrawn="1">
          <p15:clr>
            <a:srgbClr val="9FCC3B"/>
          </p15:clr>
        </p15:guide>
        <p15:guide id="3" orient="horz" pos="1128" userDrawn="1">
          <p15:clr>
            <a:srgbClr val="9FCC3B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,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, subtitle, bullets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2133601"/>
            <a:ext cx="5248274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2133600"/>
            <a:ext cx="5248276" cy="40766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8919E-8A8C-4C90-854E-20FDD2FCCD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5" y="1455968"/>
            <a:ext cx="10972800" cy="258532"/>
          </a:xfrm>
        </p:spPr>
        <p:txBody>
          <a:bodyPr/>
          <a:lstStyle>
            <a:lvl1pPr marL="0" indent="0"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FEA9DE9-1720-43CB-BEB4-4A471EA86C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354CE5A-5F80-7645-B25A-4E67E6C284B3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44196F-CE34-473D-A802-821F7968F2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F4E16D6-76D0-4B95-931F-9F32F34A84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14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840" userDrawn="1">
          <p15:clr>
            <a:srgbClr val="9FCC3B"/>
          </p15:clr>
        </p15:guide>
        <p15:guide id="3" orient="horz" pos="1128" userDrawn="1">
          <p15:clr>
            <a:srgbClr val="9FCC3B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117ECE-DA96-4373-B8B2-4E847C5AC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1995221"/>
            <a:ext cx="8067261" cy="1900504"/>
          </a:xfrm>
        </p:spPr>
        <p:txBody>
          <a:bodyPr anchor="b" anchorCtr="0"/>
          <a:lstStyle>
            <a:lvl1pPr>
              <a:defRPr sz="4400"/>
            </a:lvl1pPr>
          </a:lstStyle>
          <a:p>
            <a:r>
              <a:rPr lang="en-US" dirty="0"/>
              <a:t>Enter quote here. Reposition quote mark graphics to frame the quote.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2AB32ED6-534B-4417-86C2-7D43CBC56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6" y="1981200"/>
            <a:ext cx="309563" cy="3095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DE8EBE-FC95-451D-BADD-B5580296FA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64150" y="3274218"/>
            <a:ext cx="309563" cy="30956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685800" indent="0">
              <a:buNone/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C38951-92FB-41A4-A9D4-F3B7D3577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4127500"/>
            <a:ext cx="8067261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</a:lstStyle>
          <a:p>
            <a:pPr lvl="0"/>
            <a:r>
              <a:rPr lang="en-US" dirty="0"/>
              <a:t>Quoted person’s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36BC0-B224-4E6F-99AF-155A3657C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4496832"/>
            <a:ext cx="8067261" cy="313932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Quoted person’s affili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1DEF90-4BC7-4449-B8ED-B9BEFD74704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530EE99-DDF6-674D-B237-1C080EEF9D2F}" type="datetime1">
              <a:rPr lang="en-US" smtClean="0"/>
              <a:t>4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0F1DAA-08EC-40A3-9CC6-57B8099A6FA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D867C9-C0CC-45E6-BDB6-5AAA8DF8A9C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7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  <p15:guide id="2" orient="horz" pos="259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11A3FE-4D6A-4FEE-B1CD-1FE73B8F2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053DED-8B0A-4549-8967-4B01D5F3B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DF1F2-F062-1E44-9E8B-47E9627323C9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84D5AC-C55E-442D-A261-2526AFE66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5E28A0-3B8E-4865-89EE-429105F735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B743620-822C-4F2E-9998-6E304D9548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053DED-8B0A-4549-8967-4B01D5F3B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63C6-5FF2-F14D-A383-E6D5E2FB515E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84D5AC-C55E-442D-A261-2526AFE66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D5B3FF-A08D-44FC-A0AE-D869ED9C1C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13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1B7E57E-945E-46D1-BD61-D6921E80A8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053DED-8B0A-4549-8967-4B01D5F3B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00236-2A71-1743-979D-B68AA382AAA0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84D5AC-C55E-442D-A261-2526AFE66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5968E3-0DF7-407B-9A2D-1A1AE08904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10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9042FDE-DD19-41FD-8B6F-87590D7D76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18036"/>
            <a:ext cx="7823200" cy="1421928"/>
          </a:xfrm>
        </p:spPr>
        <p:txBody>
          <a:bodyPr anchor="ctr" anchorCtr="0"/>
          <a:lstStyle>
            <a:lvl1pPr>
              <a:defRPr sz="4800"/>
            </a:lvl1pPr>
          </a:lstStyle>
          <a:p>
            <a:r>
              <a:rPr lang="en-US" dirty="0"/>
              <a:t>Section layout: Enter section nam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57A28E-616E-40DC-A93F-E9E9E4852138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053DED-8B0A-4549-8967-4B01D5F3B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24CAA-EED0-C24D-82E2-DAC3CA112108}" type="datetime1">
              <a:rPr lang="en-US" smtClean="0"/>
              <a:t>4/24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C84D5AC-C55E-442D-A261-2526AFE66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E13C20-A770-495A-BA36-0CE111A91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AAC885-C2D4-4F14-8900-38C88CAB96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98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8ECA2-6D6E-4722-9B75-7468AE1E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25BCD8-5D1C-48DC-A21B-317A0B7D55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Type or paste plain-text code here; or click icon to add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09EAB3-8007-4FDC-BADB-BADCE0CE1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3748-602D-5D42-9D36-EB2BEB2D30D4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75AEC-53B6-4043-9677-30AD83B02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F51AD4-FDAE-4E07-B685-874180F10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d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A4C8A-667C-40C7-9A6D-BA3F977C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-column code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331E-4F8F-4DEC-91C1-F631560E66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14500"/>
            <a:ext cx="5248274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72257F-5E84-444A-B9C4-CCB856025E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4125" y="1714500"/>
            <a:ext cx="5248276" cy="44958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1pPr>
            <a:lvl2pPr marL="2286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2pPr>
            <a:lvl3pPr marL="4572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3pPr>
            <a:lvl4pPr marL="6858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4pPr>
            <a:lvl5pPr marL="914400" indent="0">
              <a:spcAft>
                <a:spcPts val="600"/>
              </a:spcAft>
              <a:buNone/>
              <a:defRPr sz="1800"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nt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810155-AFE0-49FD-8E9F-C55D66232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F824F-BE0F-B445-A153-DC955B33794C}" type="datetime1">
              <a:rPr lang="en-US" smtClean="0"/>
              <a:t>4/2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9A757A-A572-48F6-B0E7-EBDAFBA59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BE49C-423E-451A-A0D2-7D73F2531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31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90820-803B-4C55-BA9E-AE3223753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256" y="3226552"/>
            <a:ext cx="6823869" cy="480131"/>
          </a:xfrm>
        </p:spPr>
        <p:txBody>
          <a:bodyPr/>
          <a:lstStyle>
            <a:lvl1pPr>
              <a:defRPr sz="2800" b="1">
                <a:latin typeface="Amazon Ember Display" panose="020F0603020204020204" pitchFamily="34" charset="0"/>
              </a:defRPr>
            </a:lvl1pPr>
          </a:lstStyle>
          <a:p>
            <a:r>
              <a:rPr lang="en-US" dirty="0"/>
              <a:t>Enter sub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841FE7-5B7D-4299-B262-F8E574B50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EFF9-5A04-0F4B-B372-8013334DAACE}" type="datetime1">
              <a:rPr lang="en-US" smtClean="0"/>
              <a:t>4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617C0-A817-49E3-9857-07752AB40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B99A66-7F1A-495E-B008-D2DB34B05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F7951E-E6AB-4553-9142-A91D5BC58C21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latin typeface="+mj-lt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6675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97EE93C-8CD6-4A71-B69D-AC03D8B478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7155C57-5861-4985-97FD-080A655F69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7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Dem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15E6F-C631-449B-B22F-53FD20C9E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73436"/>
            <a:ext cx="7823200" cy="1311128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 dirty="0"/>
              <a:t>Video or demo divider: Enter “Video” or “Demo” here</a:t>
            </a:r>
          </a:p>
        </p:txBody>
      </p:sp>
    </p:spTree>
    <p:extLst>
      <p:ext uri="{BB962C8B-B14F-4D97-AF65-F5344CB8AC3E}">
        <p14:creationId xmlns:p14="http://schemas.microsoft.com/office/powerpoint/2010/main" val="328746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C300D94-E16B-4268-9D8D-053D71D5DC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94672" y="2327672"/>
            <a:ext cx="2202656" cy="2202656"/>
          </a:xfrm>
          <a:prstGeom prst="rect">
            <a:avLst/>
          </a:prstGeom>
        </p:spPr>
      </p:pic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6100FBD5-D226-4B79-8009-A3AA42458FC8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548640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29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1A51E-0F08-4B7B-9A9F-00CF3AA310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914401"/>
            <a:ext cx="10972800" cy="535531"/>
          </a:xfrm>
        </p:spPr>
        <p:txBody>
          <a:bodyPr anchor="t" anchorCtr="0"/>
          <a:lstStyle>
            <a:lvl1pPr>
              <a:defRPr sz="4000"/>
            </a:lvl1pPr>
          </a:lstStyle>
          <a:p>
            <a:r>
              <a:rPr lang="en-US" dirty="0"/>
              <a:t>Content with caption lay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F6EECF-7227-4AD4-BC6B-F6715716A8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10300" y="1714501"/>
            <a:ext cx="5372100" cy="4484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nter text or click icon to add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C0C8A-CCAE-4B98-91F0-838AA4F55C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598" y="1725611"/>
            <a:ext cx="5372101" cy="448468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nter descriptive text here</a:t>
            </a:r>
          </a:p>
        </p:txBody>
      </p:sp>
    </p:spTree>
    <p:extLst>
      <p:ext uri="{BB962C8B-B14F-4D97-AF65-F5344CB8AC3E}">
        <p14:creationId xmlns:p14="http://schemas.microsoft.com/office/powerpoint/2010/main" val="385405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4F94D6F-FC6C-41D8-A694-AB55DA3B3D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E488766-D546-4AE2-8DD5-211B4D6982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FFA190-394C-4586-A84A-BA2A677030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82D70F-F9C4-4C4C-A916-589EA4438C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93A1250-E885-4935-B98D-9C62E4E51F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28911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F7E9957-AB07-4CE6-BD9E-3631EF6ED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8911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064B62F-5416-46A2-BBC6-945C362C6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8699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BBE44B1-E140-4E35-AF0B-41A3CDA5CA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8699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596711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EFCB8B8-979C-4AAB-AA82-9F25D385BC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954476E-F626-4819-A736-EC4102742C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2DEB717-2DE7-459C-BBF4-D1DE18E28B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97C2B80-F3FA-418B-83A2-AD00C724B0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944E1C8-03C2-4996-BF98-A9CACDB547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81FA1AA7-555D-4F9D-A68D-165E76FE78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B05F162-C8A5-4E12-B74F-866E647CBB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7ABC795-AA3D-4A5F-885A-E07B8B8AF8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372133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E12AE363-E174-413B-A5D8-84EF102481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F79ABD0-4BB3-454B-96DF-FA1598EF70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52DB849-62DF-461B-B820-A4F32D048C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A8CEFC-CF61-4A31-A788-161B3972BF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439D56A-BB5E-4F3A-B629-0A1D1E862B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D5D8D917-6B13-42D6-8690-C650241DA9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0321A4E-2574-41DF-96BF-F2CDB2C809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32E8CB69-C161-4F4F-8247-6F0E5557C9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9703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C8EE2A75-D393-46AE-BBAB-0EB32F6F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3A73902-C254-4348-AC8F-7A5712464B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C957602-E6E1-48FD-A674-F0E29B19C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D5E640DD-5644-4072-B700-BE75881795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CE8A87F-3E35-4DEB-81B0-C1AC29D118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DCA938FB-2229-41FA-B422-BA4198B74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E92DC88-034C-420D-85C5-F8681F9E9F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D8C021E-4635-4036-8672-099B9DD4B3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14227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0280A60-AE9B-4B6A-975D-35CFC5451D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42C9EB4-F1AF-4D5B-B797-12A017CD00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070AF26-7CD2-427C-AA91-5007610CFA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C7F58AC-B161-4FBE-9FD6-B35E51E345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1CD2A80-C504-434F-936F-3B2B1AFCEF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7C96C28-DBE7-41AE-B2A4-8E50C128D8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E9D8EDA-E4CA-4B74-9177-7D67910B17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B45939A9-6CA0-455E-9033-788F15899C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303992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A117F34-934F-4076-88D3-D782D6ECB1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599" y="2461211"/>
            <a:ext cx="6867525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7DDEC3C-3A7B-41CD-BA1E-F1F67821AD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E75229E-512D-4B42-B5D1-CF8CCA9E6A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BA19A9CC-5AEE-44CE-AEDF-830A16B506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E48800-5CD8-4B07-BDB4-0138FFA207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50D0EB8-6F99-44AC-AA8F-9D74CE0E12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1EF49EB-4904-4C76-997C-A99DA56896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0712B44-50FF-4BA1-9E6C-5F60AEE2F4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400853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E2AD207-CE0A-4D3E-A94F-E95D4794AF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3E8DB85-756D-43AA-A4E5-05992D1281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59644-4343-4773-A28F-4CBF7DF4E5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64855C4-2627-46E1-A9CA-B148C6AD8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E36E688-F3C3-40CD-9899-3D65D5174B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DF14098-B30D-4FC9-B638-A7F0EAA1DD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A87B262-4F9C-4963-B71F-6A599F51E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2E6B7D5-F737-477D-BCEB-A0FC9AA521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998380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B70BFFB-0093-421A-9336-050D90222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33CD46-0AFF-491A-81DD-A41D6C0A0C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32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8E68949-CE6F-4504-96F3-8F99C5B810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34A202-5BCA-4C63-9A75-29E977C2BC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64D0F4C-32F5-4FAE-A5FD-112D779673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BAE7EE1-DB4F-46E7-B763-260F189585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23609D-11EC-4A90-9DF4-6011CEFA06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A5F0A2C-DD2C-42D9-9891-3AC7EAC58A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6FE6896-B28C-4407-9B9D-30EF7DEEC1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B0B2D505-D8BD-49D5-BA6B-C78D78B514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62878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6BDE67F-978F-4031-B3D3-DF4DCF6C95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8EAADDF-3715-41F9-80EB-8089BE4C7D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30FD717-B5D1-4382-B640-9A1502DF2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80AFCB4-6EDA-47FA-9B03-8D52A02470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A3C913E-49B8-4E01-84BA-3E1302AAAA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5F2329A-FFEB-498F-831A-5B64A8D8A2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DE1BE55-27D0-4CCD-BC1C-1E28603B2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801B2B04-0E68-469F-97F4-1485CABC89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29773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A8B14CE-D48C-4755-97B8-C8D09BC428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72E4779-460A-4AB2-B60F-636DA52DB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6067447-57A4-4241-95CA-58BA6147CC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86F5222C-6420-402E-8432-442A9B9039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7FF9F2DF-FEFD-4519-BA6A-321AE118D6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FB278312-C7E9-4084-9DA4-8FF690E63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841CF4B-BB8A-4DB4-9E3A-0FE156EE60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2CCD502E-CCF3-4763-BBA5-9668C6A2CD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165344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C999E97E-66C6-4818-BD73-FD1DEC2A17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CF5C72-58D2-4105-AADB-DD17ABECFC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EE89F7E8-34D5-405B-AE9C-9A1ACC3C2B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E382DE2-8277-44F2-BA33-B9F080C863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F3C8CFB-D16E-4A3C-AD00-0A429FF646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0923359-3BBB-4CE7-B735-2F4ADEAECF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287D8B1-049A-44B5-941A-00789112FB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C754C1F4-1140-46D2-8F46-A49CC24C64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388654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A4623BD-B67C-4E55-8A2B-78F2A27CCA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7C4B491-619F-403A-8310-1D29C8690797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1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EBFA3-8C5E-448A-B03D-8DAAEBB407B0}"/>
              </a:ext>
            </a:extLst>
          </p:cNvPr>
          <p:cNvSpPr txBox="1"/>
          <p:nvPr userDrawn="1"/>
        </p:nvSpPr>
        <p:spPr>
          <a:xfrm>
            <a:off x="609600" y="2461211"/>
            <a:ext cx="6257926" cy="92333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</a:rPr>
              <a:t>Thank you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B5FD913-AA31-4215-9688-5AEC91B1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703823"/>
            <a:ext cx="1003173" cy="600189"/>
          </a:xfrm>
          <a:prstGeom prst="rect">
            <a:avLst/>
          </a:prstGeom>
        </p:spPr>
      </p:pic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122668E-8FB9-448F-A378-4A580E1A57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1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A949EC9C-3C70-49AA-8B49-6ADBA205E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1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F15B12-1AC6-4328-97BB-8B37EE3A0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27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CEF48591-DA78-43C0-AB30-09A697E96E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27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B2E2B554-8152-4875-8AE7-DB559878A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6324" y="3621643"/>
            <a:ext cx="1981201" cy="369332"/>
          </a:xfrm>
        </p:spPr>
        <p:txBody>
          <a:bodyPr anchor="b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4C9D5B0-6B00-4369-AE51-42B65E61ED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6324" y="3990975"/>
            <a:ext cx="1981201" cy="1270000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sz="1600"/>
            </a:lvl1pPr>
          </a:lstStyle>
          <a:p>
            <a:pPr lvl="0"/>
            <a:r>
              <a:rPr lang="en-US" dirty="0"/>
              <a:t>Speaker contact info (email or socials)</a:t>
            </a:r>
          </a:p>
        </p:txBody>
      </p:sp>
    </p:spTree>
    <p:extLst>
      <p:ext uri="{BB962C8B-B14F-4D97-AF65-F5344CB8AC3E}">
        <p14:creationId xmlns:p14="http://schemas.microsoft.com/office/powerpoint/2010/main" val="19068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FA33D-5535-4C9A-8FE3-B37ABA63B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93D77A-024C-472F-B312-4E06A5BAE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1718982"/>
            <a:ext cx="10972800" cy="44913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7BCF1F-274F-4C05-8696-189CDAE0C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9618C-9F62-4F45-BFEE-50FB60B5EA01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FBB62C-DD5C-4CC6-98BC-330285579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0D4DAD-D906-4444-864A-7CED33CE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09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F2CA4B-F100-498A-9F95-D1048E98B3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914399"/>
            <a:ext cx="2857500" cy="52959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442DEB-18AA-41C3-A034-B81C200697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09600" y="914399"/>
            <a:ext cx="7962900" cy="52959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8874D-2362-4107-9CFB-6624C519C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1154A-3B33-8844-9990-D67A6550F1FA}" type="datetime1">
              <a:rPr lang="en-US" smtClean="0"/>
              <a:t>4/2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81FEF1-5834-4539-A37C-ED5E275C6D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A1474-147C-4D4E-B55D-24F747B20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061DB-7406-41C8-A121-52D8D4484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74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A4731D4-24B7-407D-A119-09109E0E0D80}"/>
              </a:ext>
            </a:extLst>
          </p:cNvPr>
          <p:cNvSpPr txBox="1"/>
          <p:nvPr userDrawn="1"/>
        </p:nvSpPr>
        <p:spPr>
          <a:xfrm>
            <a:off x="3486150" y="2512370"/>
            <a:ext cx="7353300" cy="1874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6000" dirty="0">
                <a:latin typeface="+mj-lt"/>
              </a:rPr>
              <a:t>Do not use layouts after this slide.</a:t>
            </a:r>
            <a:br>
              <a:rPr lang="en-US" sz="6000" dirty="0">
                <a:latin typeface="+mj-lt"/>
              </a:rPr>
            </a:br>
            <a:r>
              <a:rPr lang="en-US" sz="2000" dirty="0">
                <a:latin typeface="+mj-lt"/>
              </a:rPr>
              <a:t>They are not part of the official template.</a:t>
            </a:r>
            <a:endParaRPr lang="en-US" sz="6000" dirty="0">
              <a:latin typeface="+mj-lt"/>
            </a:endParaRPr>
          </a:p>
        </p:txBody>
      </p:sp>
      <p:pic>
        <p:nvPicPr>
          <p:cNvPr id="7" name="Graphic 6" descr="Stop sign">
            <a:extLst>
              <a:ext uri="{FF2B5EF4-FFF2-40B4-BE49-F238E27FC236}">
                <a16:creationId xmlns:a16="http://schemas.microsoft.com/office/drawing/2014/main" id="{2E1D490C-0B7A-44B5-A2CC-975048311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250" y="2114549"/>
            <a:ext cx="2628900" cy="26289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6A91D7-A142-41A9-9775-90FA8A0EC8F4}"/>
              </a:ext>
            </a:extLst>
          </p:cNvPr>
          <p:cNvSpPr/>
          <p:nvPr userDrawn="1"/>
        </p:nvSpPr>
        <p:spPr>
          <a:xfrm>
            <a:off x="380999" y="6337300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mazon Ember Display" panose="020F0603020204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A252AA-410C-4410-AE45-9D483892FCD8}"/>
              </a:ext>
            </a:extLst>
          </p:cNvPr>
          <p:cNvSpPr/>
          <p:nvPr userDrawn="1"/>
        </p:nvSpPr>
        <p:spPr>
          <a:xfrm>
            <a:off x="380999" y="163722"/>
            <a:ext cx="4943475" cy="520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mazon Ember Display" panose="020F06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04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_Image_Cent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717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840568"/>
            <a:ext cx="10363200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181600"/>
            <a:ext cx="8534400" cy="48013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166F1F-CE9B-4651-A6AA-CD717754106B}" type="datetimeFigureOut">
              <a:rPr lang="en-US" smtClean="0"/>
              <a:t>4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21451-1387-4CA6-816F-3879F97B5C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452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DBAA309-92EA-4379-8B36-A33B00AC0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5D5CC1-F214-4B0D-B624-747936DBC0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89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NER_TRAIN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647E4-E7F7-9646-880C-2CDC95018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391" y="746100"/>
            <a:ext cx="11262360" cy="53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CBDCF0-0860-5B44-BAD8-F7882326395A}"/>
              </a:ext>
            </a:extLst>
          </p:cNvPr>
          <p:cNvSpPr txBox="1"/>
          <p:nvPr userDrawn="1"/>
        </p:nvSpPr>
        <p:spPr>
          <a:xfrm>
            <a:off x="449053" y="6403251"/>
            <a:ext cx="5929575" cy="1435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609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b="0" i="0" dirty="0">
                <a:solidFill>
                  <a:schemeClr val="tx1">
                    <a:lumMod val="50000"/>
                  </a:schemeClr>
                </a:solidFill>
                <a:latin typeface="Amazon Ember Display" panose="020F0603020204020204" pitchFamily="34" charset="0"/>
                <a:ea typeface="Amazon Ember Display" panose="020F0603020204020204" pitchFamily="34" charset="0"/>
                <a:cs typeface="Amazon Ember Display" panose="020F0603020204020204" pitchFamily="34" charset="0"/>
              </a:rPr>
              <a:t>© 2022, Amazon Web Services, Inc. or its affiliates. All rights reserve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141151-DCC5-054A-96C2-2C89DE6B33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4600" y="6275882"/>
            <a:ext cx="591151" cy="353418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BD562CF4-CDDF-C34D-A3AB-1A168878ACAC}"/>
              </a:ext>
            </a:extLst>
          </p:cNvPr>
          <p:cNvSpPr txBox="1">
            <a:spLocks/>
          </p:cNvSpPr>
          <p:nvPr userDrawn="1"/>
        </p:nvSpPr>
        <p:spPr>
          <a:xfrm>
            <a:off x="609600" y="324282"/>
            <a:ext cx="10972800" cy="241300"/>
          </a:xfrm>
          <a:prstGeom prst="rect">
            <a:avLst/>
          </a:prstGeom>
          <a:noFill/>
        </p:spPr>
        <p:txBody>
          <a:bodyPr l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Amazon Ember" panose="020B0603020204020204" pitchFamily="34" charset="0"/>
              <a:buNone/>
              <a:defRPr sz="1000" b="0" kern="1200" cap="all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Amazon Ember" panose="020B0603020204020204" pitchFamily="34" charset="0"/>
              <a:buNone/>
              <a:tabLst/>
              <a:defRPr/>
            </a:pPr>
            <a:r>
              <a:rPr lang="en-US" dirty="0">
                <a:latin typeface="Amazon Ember Display" panose="020F0603020204020204" pitchFamily="34" charset="0"/>
              </a:rPr>
              <a:t>Cloud Economics | Partner training</a:t>
            </a:r>
          </a:p>
        </p:txBody>
      </p:sp>
    </p:spTree>
    <p:extLst>
      <p:ext uri="{BB962C8B-B14F-4D97-AF65-F5344CB8AC3E}">
        <p14:creationId xmlns:p14="http://schemas.microsoft.com/office/powerpoint/2010/main" val="1350261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_Bulleted_Sec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3248"/>
            <a:ext cx="10464800" cy="727655"/>
          </a:xfrm>
        </p:spPr>
        <p:txBody>
          <a:bodyPr>
            <a:normAutofit/>
          </a:bodyPr>
          <a:lstStyle>
            <a:lvl1pPr>
              <a:defRPr sz="31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6C5D45-2516-944B-852E-9416AD2871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371600"/>
            <a:ext cx="5334000" cy="2184400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0DD99-A52C-8C44-9396-106AF36BB4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1750" y="1371600"/>
            <a:ext cx="5334000" cy="2184400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A1025BD-66EE-CB47-95FB-71C600437B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1750" y="3724836"/>
            <a:ext cx="5334000" cy="2184400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770ECF-1C09-6F4C-BA98-A9B2C775B4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250" y="3724836"/>
            <a:ext cx="5334000" cy="2184400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254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60536"/>
            <a:ext cx="11082528" cy="443198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72983"/>
            <a:ext cx="11082528" cy="3877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>
                <a:solidFill>
                  <a:schemeClr val="accent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108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294A19D6-5E44-4C78-B711-79366AF6735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0576720" y="646351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algn="r" defTabSz="610729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C29566D6-25E8-4D04-86A1-0A4ED442EA9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6346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8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Source: …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0D3951A-8F4F-4D78-BF43-739173A3787B}"/>
              </a:ext>
            </a:extLst>
          </p:cNvPr>
          <p:cNvSpPr txBox="1"/>
          <p:nvPr userDrawn="1"/>
        </p:nvSpPr>
        <p:spPr>
          <a:xfrm>
            <a:off x="554737" y="6667580"/>
            <a:ext cx="2859757" cy="10772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7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© 2022, Amazon Web Services, Inc. or its Affiliates. All rights reserved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C400135-B94B-4A97-8108-730F5483703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48997" y="6356057"/>
            <a:ext cx="590993" cy="35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228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C35E08-DCC3-48EC-A421-22DBCF0FAA3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255982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05727"/>
            <a:ext cx="7674864" cy="1446550"/>
          </a:xfrm>
        </p:spPr>
        <p:txBody>
          <a:bodyPr vert="horz" wrap="square" anchor="ctr">
            <a:spAutoFit/>
          </a:bodyPr>
          <a:lstStyle>
            <a:lvl1pPr rtl="0">
              <a:lnSpc>
                <a:spcPct val="100000"/>
              </a:lnSpc>
              <a:defRPr sz="440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8"/>
            <a:ext cx="3843339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32217470-5FFC-4834-92B8-3D65CE49402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576720" y="646351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pPr algn="r" defTabSz="610729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  <a:sym typeface="Amazon Ember" panose="020B0603020204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94BD621-7132-484B-A87B-858911878BD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6346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8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Source: 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A3199-BFF4-4360-912E-F4F494DF538C}"/>
              </a:ext>
            </a:extLst>
          </p:cNvPr>
          <p:cNvSpPr txBox="1"/>
          <p:nvPr userDrawn="1"/>
        </p:nvSpPr>
        <p:spPr>
          <a:xfrm>
            <a:off x="554737" y="6667580"/>
            <a:ext cx="2859757" cy="10772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700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  <a:sym typeface="Amazon Ember" panose="020B0603020204020204" pitchFamily="34" charset="0"/>
              </a:rPr>
              <a:t>© 2022, Amazon Web Services, Inc. or its Affiliates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A409CC-7E9A-4EFD-AF79-9BA2C67BCA9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48997" y="6356057"/>
            <a:ext cx="590993" cy="35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33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nk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AFB6A46-510E-2697-338D-BE1E68433B64}"/>
              </a:ext>
            </a:extLst>
          </p:cNvPr>
          <p:cNvSpPr txBox="1"/>
          <p:nvPr userDrawn="1"/>
        </p:nvSpPr>
        <p:spPr>
          <a:xfrm>
            <a:off x="495300" y="279400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88DD878-5408-C12A-D759-4C206D377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X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3127EFEF-4E9A-9EDA-CEE1-042B205BA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F7498-417D-4745-9CAD-8718DE78FE52}" type="datetime1">
              <a:rPr lang="en-US" smtClean="0"/>
              <a:pPr/>
              <a:t>4/24/23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E4B2064-FB9E-188B-077F-AA9DEBDE9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B3E92B7-B7B8-A5A0-2836-CBBCFA3E6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61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5B906AB-1775-145A-AE77-D45DC7F39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3161" t="58845" b="3478"/>
          <a:stretch/>
        </p:blipFill>
        <p:spPr>
          <a:xfrm>
            <a:off x="-1280160" y="-720090"/>
            <a:ext cx="14752320" cy="829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50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ACC7F-A1B5-49B5-821A-D9FB8D49F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5" y="289511"/>
            <a:ext cx="11652356" cy="899665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sz="360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36A5EB2-5876-4EAF-8AE0-2E40E81862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875" y="1189179"/>
            <a:ext cx="11652356" cy="1937133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831193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_of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20CA0-5CE7-1A4B-ACE6-C7A15B82C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3248"/>
            <a:ext cx="11258550" cy="535531"/>
          </a:xfrm>
        </p:spPr>
        <p:txBody>
          <a:bodyPr/>
          <a:lstStyle>
            <a:lvl1pPr>
              <a:defRPr b="1" i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710D4E-8635-D746-9FE7-1EE20F49E4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371600"/>
            <a:ext cx="11258550" cy="2173608"/>
          </a:xfrm>
          <a:prstGeom prst="rect">
            <a:avLst/>
          </a:prstGeom>
        </p:spPr>
        <p:txBody>
          <a:bodyPr/>
          <a:lstStyle>
            <a:lvl5pPr>
              <a:defRPr sz="158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ACCDD4-2E2C-B842-8B78-FF98056D3A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4678" y="6275882"/>
            <a:ext cx="590993" cy="353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59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268F13E-C214-4B8D-880A-BA0FCE0C91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98E043-3FBE-4BA4-AC46-79BDCCF502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29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85600E0-7AB0-4031-A612-7B2CCBEE75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FDF3A4-5795-4C3E-A626-E8705501F6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8" y="2026178"/>
            <a:ext cx="6460999" cy="726547"/>
          </a:xfrm>
        </p:spPr>
        <p:txBody>
          <a:bodyPr wrap="square" anchor="t" anchorCtr="0"/>
          <a:lstStyle>
            <a:lvl1pPr algn="l">
              <a:defRPr sz="4800"/>
            </a:lvl1pPr>
          </a:lstStyle>
          <a:p>
            <a:r>
              <a:rPr lang="en-US" dirty="0"/>
              <a:t>En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AD1914-560C-4D5C-AA3F-8A993D908E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8" y="2752725"/>
            <a:ext cx="6460998" cy="535531"/>
          </a:xfrm>
        </p:spPr>
        <p:txBody>
          <a:bodyPr wrap="square"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3200" b="0" i="0" cap="none" spc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nter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5E33B-41A5-4ACB-9AE6-2F3E7CAA44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8" y="4349712"/>
            <a:ext cx="3797302" cy="3693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2000" b="0" i="0" cap="none" spc="0" baseline="0"/>
            </a:lvl1pPr>
          </a:lstStyle>
          <a:p>
            <a:pPr lvl="0"/>
            <a:r>
              <a:rPr lang="en-US" dirty="0"/>
              <a:t>Speaker name (pronoun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4CE4ED-4096-479A-AA41-A2286E854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8" y="1721368"/>
            <a:ext cx="6477002" cy="258532"/>
          </a:xfr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200" b="1" i="0" cap="all" spc="300" baseline="0"/>
            </a:lvl1pPr>
          </a:lstStyle>
          <a:p>
            <a:pPr lvl="0"/>
            <a:r>
              <a:rPr lang="en-US" dirty="0"/>
              <a:t>Enter session ID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D4CE88-F816-4273-A6C0-5D3F9D2E05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8" y="4762500"/>
            <a:ext cx="3797302" cy="535531"/>
          </a:xfrm>
        </p:spPr>
        <p:txBody>
          <a:bodyPr wrap="square"/>
          <a:lstStyle>
            <a:lvl1pPr marL="0" indent="0">
              <a:spcAft>
                <a:spcPts val="300"/>
              </a:spcAft>
              <a:buNone/>
              <a:defRPr sz="1600"/>
            </a:lvl1pPr>
          </a:lstStyle>
          <a:p>
            <a:pPr lvl="0"/>
            <a:r>
              <a:rPr lang="en-US" dirty="0"/>
              <a:t>Speaker job title</a:t>
            </a:r>
            <a:br>
              <a:rPr lang="en-US" dirty="0"/>
            </a:br>
            <a:r>
              <a:rPr lang="en-US" dirty="0"/>
              <a:t>Speaker 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E4815-926B-43B6-82AB-971B1A89CEF6}"/>
              </a:ext>
            </a:extLst>
          </p:cNvPr>
          <p:cNvSpPr txBox="1"/>
          <p:nvPr userDrawn="1"/>
        </p:nvSpPr>
        <p:spPr>
          <a:xfrm>
            <a:off x="504476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solidFill>
                  <a:schemeClr val="tx2"/>
                </a:solidFill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DCD881-DF20-456B-8D14-A0EB6AF3BE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02" y="551423"/>
            <a:ext cx="1003173" cy="60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91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464">
          <p15:clr>
            <a:srgbClr val="FBAE40"/>
          </p15:clr>
        </p15:guide>
        <p15:guide id="3" orient="horz" pos="2736">
          <p15:clr>
            <a:srgbClr val="FBAE40"/>
          </p15:clr>
        </p15:guide>
        <p15:guide id="4" orient="horz" pos="1272">
          <p15:clr>
            <a:srgbClr val="FBAE40"/>
          </p15:clr>
        </p15:guide>
        <p15:guide id="5" orient="horz" pos="172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91CB6-D820-4A96-8204-600D7D956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 layou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750401-572B-4B45-BF07-5D528B05F8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714500"/>
            <a:ext cx="10972800" cy="4495800"/>
          </a:xfrm>
        </p:spPr>
        <p:txBody>
          <a:bodyPr/>
          <a:lstStyle>
            <a:lvl1pPr marL="0" indent="0">
              <a:spcAft>
                <a:spcPts val="3000"/>
              </a:spcAft>
              <a:buNone/>
              <a:defRPr sz="2400"/>
            </a:lvl1pPr>
            <a:lvl2pPr marL="0" indent="0">
              <a:spcAft>
                <a:spcPts val="3000"/>
              </a:spcAft>
              <a:buNone/>
              <a:defRPr sz="2400"/>
            </a:lvl2pPr>
            <a:lvl3pPr marL="0" indent="0">
              <a:spcAft>
                <a:spcPts val="3000"/>
              </a:spcAft>
              <a:buNone/>
              <a:defRPr sz="2400"/>
            </a:lvl3pPr>
            <a:lvl4pPr marL="0" indent="0">
              <a:spcAft>
                <a:spcPts val="3000"/>
              </a:spcAft>
              <a:buNone/>
              <a:defRPr sz="2400"/>
            </a:lvl4pPr>
            <a:lvl5pPr marL="0" indent="0">
              <a:spcAft>
                <a:spcPts val="3000"/>
              </a:spcAft>
              <a:buNone/>
              <a:defRPr sz="2400"/>
            </a:lvl5pPr>
          </a:lstStyle>
          <a:p>
            <a:pPr lvl="0"/>
            <a:r>
              <a:rPr lang="en-US" dirty="0"/>
              <a:t>Enter high-level agenda item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5A1D86-6A7C-4718-BC8A-729563F7E07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39CD85-35E0-6B48-AB82-CCD067280D60}" type="datetime1">
              <a:rPr lang="en-US" smtClean="0"/>
              <a:t>4/24/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5447C4-003F-49F1-92D9-AA8E160181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4C0F27-F073-46C5-99AA-D6BC67A40F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B4B8DE2-A4E8-46E4-8BBF-D75455EFF3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909D69-4A77-80EA-72C5-CBE665E3A999}"/>
              </a:ext>
            </a:extLst>
          </p:cNvPr>
          <p:cNvSpPr txBox="1"/>
          <p:nvPr userDrawn="1"/>
        </p:nvSpPr>
        <p:spPr>
          <a:xfrm>
            <a:off x="1423686" y="416689"/>
            <a:ext cx="65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endParaRPr lang="en-MX" dirty="0" err="1"/>
          </a:p>
        </p:txBody>
      </p:sp>
    </p:spTree>
    <p:extLst>
      <p:ext uri="{BB962C8B-B14F-4D97-AF65-F5344CB8AC3E}">
        <p14:creationId xmlns:p14="http://schemas.microsoft.com/office/powerpoint/2010/main" val="7061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86CC99-EC41-4647-BD17-9EFC9AA4D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1"/>
            <a:ext cx="10972800" cy="535531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28EF9-1BCD-42D2-8B21-6150BBD86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18983"/>
            <a:ext cx="10972800" cy="220368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484D14-2EC8-4252-96DA-F75A75EAF3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9532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mazon Ember Display" panose="020F0603020204020204" pitchFamily="34" charset="0"/>
              </a:defRPr>
            </a:lvl1pPr>
          </a:lstStyle>
          <a:p>
            <a:fld id="{D5FF7498-417D-4745-9CAD-8718DE78FE52}" type="datetime1">
              <a:rPr lang="en-US" smtClean="0"/>
              <a:pPr/>
              <a:t>4/24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B18F2-2506-4A8B-983C-1A77A245E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9532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mazon Ember Display" panose="020F06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925A29-F4EF-4A12-9095-1B88A1BDDE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29200" y="62895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mazon Ember Display" panose="020F0603020204020204" pitchFamily="34" charset="0"/>
              </a:defRPr>
            </a:lvl1pPr>
          </a:lstStyle>
          <a:p>
            <a:fld id="{EB4B8DE2-A4E8-46E4-8BBF-D75455EFF3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B08AA2C-B509-4BA9-B3D5-46E288298CEC}"/>
              </a:ext>
            </a:extLst>
          </p:cNvPr>
          <p:cNvSpPr txBox="1">
            <a:spLocks/>
          </p:cNvSpPr>
          <p:nvPr userDrawn="1"/>
        </p:nvSpPr>
        <p:spPr>
          <a:xfrm>
            <a:off x="609600" y="324282"/>
            <a:ext cx="10972800" cy="241300"/>
          </a:xfrm>
          <a:prstGeom prst="rect">
            <a:avLst/>
          </a:prstGeom>
          <a:noFill/>
        </p:spPr>
        <p:txBody>
          <a:bodyPr l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Amazon Ember" panose="020B0603020204020204" pitchFamily="34" charset="0"/>
              <a:buNone/>
              <a:defRPr sz="1000" b="0" kern="1200" cap="all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mazon Ember" panose="020B0603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90000"/>
              <a:buFont typeface="Amazon Ember" panose="020B0603020204020204" pitchFamily="34" charset="0"/>
              <a:buNone/>
              <a:tabLst/>
              <a:defRPr/>
            </a:pPr>
            <a:r>
              <a:rPr lang="en-US" dirty="0">
                <a:latin typeface="Amazon Ember Display" panose="020F0603020204020204" pitchFamily="34" charset="0"/>
              </a:rPr>
              <a:t>Cloud Economics partner train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F1CF42-1C9C-47C2-AE41-78BE145251DB}"/>
              </a:ext>
            </a:extLst>
          </p:cNvPr>
          <p:cNvSpPr txBox="1"/>
          <p:nvPr userDrawn="1"/>
        </p:nvSpPr>
        <p:spPr>
          <a:xfrm>
            <a:off x="1141084" y="6389813"/>
            <a:ext cx="39372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600" dirty="0">
                <a:latin typeface="Amazon Ember Display" panose="020F0603020204020204" pitchFamily="34" charset="0"/>
              </a:rPr>
              <a:t>© 2022, Amazon Web Services, Inc. or its affiliates. All rights reserved. Amazon Confidential and Trademark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D4F7D2-009A-40A3-9C6D-5D576E0365C6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6335089"/>
            <a:ext cx="348827" cy="2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489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61" r:id="rId9"/>
    <p:sldLayoutId id="2147483654" r:id="rId10"/>
    <p:sldLayoutId id="2147483781" r:id="rId11"/>
    <p:sldLayoutId id="2147483662" r:id="rId12"/>
    <p:sldLayoutId id="2147483663" r:id="rId13"/>
    <p:sldLayoutId id="2147483655" r:id="rId14"/>
    <p:sldLayoutId id="2147483650" r:id="rId15"/>
    <p:sldLayoutId id="2147483664" r:id="rId16"/>
    <p:sldLayoutId id="2147483666" r:id="rId17"/>
    <p:sldLayoutId id="2147483667" r:id="rId18"/>
    <p:sldLayoutId id="2147483665" r:id="rId19"/>
    <p:sldLayoutId id="2147483668" r:id="rId20"/>
    <p:sldLayoutId id="2147483653" r:id="rId21"/>
    <p:sldLayoutId id="2147483689" r:id="rId22"/>
    <p:sldLayoutId id="2147483691" r:id="rId23"/>
    <p:sldLayoutId id="2147483690" r:id="rId24"/>
    <p:sldLayoutId id="2147483657" r:id="rId25"/>
    <p:sldLayoutId id="2147483692" r:id="rId26"/>
    <p:sldLayoutId id="2147483694" r:id="rId27"/>
    <p:sldLayoutId id="2147483693" r:id="rId28"/>
    <p:sldLayoutId id="2147483652" r:id="rId29"/>
    <p:sldLayoutId id="2147483669" r:id="rId30"/>
    <p:sldLayoutId id="2147483670" r:id="rId31"/>
    <p:sldLayoutId id="2147483673" r:id="rId32"/>
    <p:sldLayoutId id="2147483651" r:id="rId33"/>
    <p:sldLayoutId id="2147483686" r:id="rId34"/>
    <p:sldLayoutId id="2147483687" r:id="rId35"/>
    <p:sldLayoutId id="2147483688" r:id="rId36"/>
    <p:sldLayoutId id="2147483671" r:id="rId37"/>
    <p:sldLayoutId id="2147483672" r:id="rId38"/>
    <p:sldLayoutId id="2147483695" r:id="rId39"/>
    <p:sldLayoutId id="2147483674" r:id="rId40"/>
    <p:sldLayoutId id="2147483675" r:id="rId41"/>
    <p:sldLayoutId id="2147483656" r:id="rId42"/>
    <p:sldLayoutId id="2147483676" r:id="rId43"/>
    <p:sldLayoutId id="2147483696" r:id="rId44"/>
    <p:sldLayoutId id="2147483697" r:id="rId45"/>
    <p:sldLayoutId id="2147483698" r:id="rId46"/>
    <p:sldLayoutId id="2147483699" r:id="rId47"/>
    <p:sldLayoutId id="2147483700" r:id="rId48"/>
    <p:sldLayoutId id="2147483701" r:id="rId49"/>
    <p:sldLayoutId id="2147483702" r:id="rId50"/>
    <p:sldLayoutId id="2147483703" r:id="rId51"/>
    <p:sldLayoutId id="2147483704" r:id="rId52"/>
    <p:sldLayoutId id="2147483705" r:id="rId53"/>
    <p:sldLayoutId id="2147483706" r:id="rId54"/>
    <p:sldLayoutId id="2147483707" r:id="rId55"/>
    <p:sldLayoutId id="2147483708" r:id="rId56"/>
    <p:sldLayoutId id="2147483678" r:id="rId57"/>
    <p:sldLayoutId id="2147483769" r:id="rId58"/>
    <p:sldLayoutId id="2147483770" r:id="rId59"/>
    <p:sldLayoutId id="2147483782" r:id="rId60"/>
    <p:sldLayoutId id="2147483772" r:id="rId61"/>
    <p:sldLayoutId id="2147483774" r:id="rId62"/>
    <p:sldLayoutId id="2147483775" r:id="rId63"/>
    <p:sldLayoutId id="2147483780" r:id="rId64"/>
    <p:sldLayoutId id="2147483783" r:id="rId65"/>
    <p:sldLayoutId id="2147483784" r:id="rId66"/>
    <p:sldLayoutId id="2147483785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Amazon Ember Display" panose="020F0603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SzPct val="9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2pPr>
      <a:lvl3pPr marL="85725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mazon Ember" panose="020B0603020204020204" pitchFamily="34" charset="0"/>
        <a:buChar char="–"/>
        <a:defRPr sz="20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3pPr>
      <a:lvl4pPr marL="103028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4pPr>
      <a:lvl5pPr marL="12017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mazon Ember Display" panose="020F06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192" userDrawn="1">
          <p15:clr>
            <a:srgbClr val="F26B43"/>
          </p15:clr>
        </p15:guide>
        <p15:guide id="4" orient="horz" pos="3912" userDrawn="1">
          <p15:clr>
            <a:srgbClr val="F26B43"/>
          </p15:clr>
        </p15:guide>
        <p15:guide id="5" orient="horz" pos="1080" userDrawn="1">
          <p15:clr>
            <a:srgbClr val="F26B43"/>
          </p15:clr>
        </p15:guide>
        <p15:guide id="6" orient="horz" pos="5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microsoft.com/office/2007/relationships/hdphoto" Target="../media/hdphoto1.wdp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6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778B6ED-D722-1044-A27F-C607165BBB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8" y="2026178"/>
            <a:ext cx="6460999" cy="757130"/>
          </a:xfrm>
        </p:spPr>
        <p:txBody>
          <a:bodyPr/>
          <a:lstStyle/>
          <a:p>
            <a:r>
              <a:rPr lang="en-MX" dirty="0"/>
              <a:t>Cloud Economic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EDF5293-3AC2-40AF-C2CE-2377154335B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MX" dirty="0"/>
              <a:t>PARTNER TRAINING PROGR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1951B1-FEFE-53DF-D2FA-A1529F8CC4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7" y="4349712"/>
            <a:ext cx="5779479" cy="369332"/>
          </a:xfrm>
        </p:spPr>
        <p:txBody>
          <a:bodyPr/>
          <a:lstStyle/>
          <a:p>
            <a:r>
              <a:rPr lang="es-ES" dirty="0"/>
              <a:t>Juan Carlos Galván Marín</a:t>
            </a:r>
            <a:endParaRPr lang="en-MX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27315B-A35E-C804-DB94-884C8411B6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8" y="4762500"/>
            <a:ext cx="5962652" cy="535531"/>
          </a:xfrm>
        </p:spPr>
        <p:txBody>
          <a:bodyPr/>
          <a:lstStyle/>
          <a:p>
            <a:r>
              <a:rPr lang="en-MX" dirty="0"/>
              <a:t>Cloud Economics </a:t>
            </a:r>
            <a:r>
              <a:rPr lang="en-US" dirty="0"/>
              <a:t>BUSINESS DEVELOPMENT MANAGER</a:t>
            </a:r>
            <a:endParaRPr lang="en-MX" dirty="0"/>
          </a:p>
        </p:txBody>
      </p:sp>
    </p:spTree>
    <p:extLst>
      <p:ext uri="{BB962C8B-B14F-4D97-AF65-F5344CB8AC3E}">
        <p14:creationId xmlns:p14="http://schemas.microsoft.com/office/powerpoint/2010/main" val="98815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FEAAF44-5C26-A6A7-11FE-F27511E68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74327"/>
            <a:ext cx="10972800" cy="535531"/>
          </a:xfrm>
        </p:spPr>
        <p:txBody>
          <a:bodyPr/>
          <a:lstStyle/>
          <a:p>
            <a:r>
              <a:rPr lang="en-MX" dirty="0"/>
              <a:t>Champion </a:t>
            </a:r>
            <a:r>
              <a:rPr lang="en-US" dirty="0"/>
              <a:t>S</a:t>
            </a:r>
            <a:r>
              <a:rPr lang="en-MX" dirty="0"/>
              <a:t>uggested Job Descrip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E0F231-1585-71BF-3256-3E558C063EF8}"/>
              </a:ext>
            </a:extLst>
          </p:cNvPr>
          <p:cNvSpPr txBox="1"/>
          <p:nvPr/>
        </p:nvSpPr>
        <p:spPr>
          <a:xfrm>
            <a:off x="1121470" y="1175554"/>
            <a:ext cx="2396490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Key job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E4309C-55E1-EED4-6FE1-543A35432864}"/>
              </a:ext>
            </a:extLst>
          </p:cNvPr>
          <p:cNvSpPr txBox="1"/>
          <p:nvPr/>
        </p:nvSpPr>
        <p:spPr>
          <a:xfrm>
            <a:off x="7549787" y="1142706"/>
            <a:ext cx="1824217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hampion Profi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2980A2-268C-E7A1-0BCE-49B83D3AE1CC}"/>
              </a:ext>
            </a:extLst>
          </p:cNvPr>
          <p:cNvSpPr txBox="1"/>
          <p:nvPr/>
        </p:nvSpPr>
        <p:spPr>
          <a:xfrm>
            <a:off x="609600" y="1544886"/>
            <a:ext cx="5086865" cy="50475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Own and drive strategy for Cloud Economics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Serve as a Champion to adopt AWS CE  practice to directly support top deals, articulating the economic value of cloud to customers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Building a seamless end to end Customer journey through the various stages of the purchasing and cloud adoption cycle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Develop a template for deriving the cloud economics business value and turning that into a customer-facing presentation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Partner with the Sales Team team and AWS Team advisors to implement and mature templates and process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Serve as a key source of market insights into how our customers view the economic benefit of AWS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Prepare and present internal business reviews to senior management teams regarding progress and roadblocks on economic-related issues facing our customer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3A3E84-E730-0061-0A13-9EF58C6C21BA}"/>
              </a:ext>
            </a:extLst>
          </p:cNvPr>
          <p:cNvSpPr txBox="1"/>
          <p:nvPr/>
        </p:nvSpPr>
        <p:spPr>
          <a:xfrm>
            <a:off x="6495537" y="1602981"/>
            <a:ext cx="5478162" cy="526297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Understanding of AWS product line, customer on-premise IT infrastructure, and experience in building business cases which quantify industry specific benefits highly desired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Provable experience in engineering, management consulting or financial modeling &amp; business economic analysis experience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xperience creating and presenting business cases to non-technical decision makers.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Understanding of AWS product line, customer on-premise IT infrastructure, and experience in building business cases which quantify industry specific benefits highly desired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xperience working with C-Suite executives.</a:t>
            </a:r>
          </a:p>
          <a:p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Strong business sense capable of understanding the complexities of IT environments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Ability to work effectively across internal and external organizations, including sales, marketing, business development and training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xperience leading data-driven analyses and influencing results</a:t>
            </a:r>
          </a:p>
          <a:p>
            <a:endParaRPr lang="en-US" sz="1400" dirty="0">
              <a:effectLst/>
              <a:cs typeface="Al Bayan Plai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3750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725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CD534359-BABD-4180-A592-DA833791C3AC}"/>
              </a:ext>
            </a:extLst>
          </p:cNvPr>
          <p:cNvSpPr txBox="1">
            <a:spLocks/>
          </p:cNvSpPr>
          <p:nvPr/>
        </p:nvSpPr>
        <p:spPr>
          <a:xfrm>
            <a:off x="457199" y="153248"/>
            <a:ext cx="11262360" cy="753435"/>
          </a:xfrm>
          <a:prstGeom prst="rect">
            <a:avLst/>
          </a:prstGeom>
        </p:spPr>
        <p:txBody>
          <a:bodyPr vert="horz" lIns="76200" tIns="38100" rIns="76200" bIns="38100" rtlCol="0" anchor="t">
            <a:noAutofit/>
          </a:bodyPr>
          <a:lstStyle>
            <a:lvl1pPr algn="l" defTabSz="731520" rtl="0" eaLnBrk="1" latinLnBrk="0" hangingPunct="1">
              <a:spcBef>
                <a:spcPct val="0"/>
              </a:spcBef>
              <a:buNone/>
              <a:defRPr sz="3800" b="1" i="0" kern="1200">
                <a:solidFill>
                  <a:schemeClr val="bg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pPr defTabSz="609551"/>
            <a:endParaRPr lang="en-US" sz="3167" dirty="0">
              <a:solidFill>
                <a:srgbClr val="232F3E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E9894EF-3389-4658-813F-B75FA5679BC1}"/>
              </a:ext>
            </a:extLst>
          </p:cNvPr>
          <p:cNvSpPr txBox="1">
            <a:spLocks/>
          </p:cNvSpPr>
          <p:nvPr/>
        </p:nvSpPr>
        <p:spPr>
          <a:xfrm>
            <a:off x="236953" y="483671"/>
            <a:ext cx="11262360" cy="551110"/>
          </a:xfrm>
          <a:prstGeom prst="rect">
            <a:avLst/>
          </a:prstGeom>
        </p:spPr>
        <p:txBody>
          <a:bodyPr vert="horz" lIns="76200" tIns="38100" rIns="76200" bIns="38100" rtlCol="0" anchor="t">
            <a:noAutofit/>
          </a:bodyPr>
          <a:lstStyle>
            <a:lvl1pPr algn="l" defTabSz="731520" rtl="0" eaLnBrk="1" latinLnBrk="0" hangingPunct="1">
              <a:spcBef>
                <a:spcPct val="0"/>
              </a:spcBef>
              <a:buNone/>
              <a:defRPr sz="3800" b="1" i="0" kern="1200">
                <a:solidFill>
                  <a:schemeClr val="bg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r>
              <a:rPr lang="en-US" sz="3167" dirty="0">
                <a:solidFill>
                  <a:schemeClr val="tx1"/>
                </a:solidFill>
              </a:rPr>
              <a:t>Cloud Economics team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18EDBFF-5CDF-4C8F-A666-1851EDB573A0}"/>
              </a:ext>
            </a:extLst>
          </p:cNvPr>
          <p:cNvGrpSpPr/>
          <p:nvPr/>
        </p:nvGrpSpPr>
        <p:grpSpPr>
          <a:xfrm>
            <a:off x="1523971" y="2204075"/>
            <a:ext cx="2935023" cy="3463790"/>
            <a:chOff x="7741009" y="1054348"/>
            <a:chExt cx="3522027" cy="4156548"/>
          </a:xfrm>
        </p:grpSpPr>
        <p:pic>
          <p:nvPicPr>
            <p:cNvPr id="20" name="Picture 2" descr="File:Mexico Brazil Locator.png - Wikipedia">
              <a:extLst>
                <a:ext uri="{FF2B5EF4-FFF2-40B4-BE49-F238E27FC236}">
                  <a16:creationId xmlns:a16="http://schemas.microsoft.com/office/drawing/2014/main" id="{CA123D29-F09D-45F0-A695-0DED7CAA36A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35520" b="97280" l="12632" r="34105">
                          <a14:foregroundMark x1="16070" y1="44000" x2="16070" y2="44000"/>
                          <a14:foregroundMark x1="19368" y1="43840" x2="19368" y2="43840"/>
                          <a14:foregroundMark x1="12912" y1="38400" x2="12912" y2="38400"/>
                          <a14:foregroundMark x1="12632" y1="35520" x2="12632" y2="35520"/>
                          <a14:foregroundMark x1="18596" y1="46880" x2="18596" y2="46880"/>
                          <a14:foregroundMark x1="18526" y1="47840" x2="18526" y2="47840"/>
                          <a14:foregroundMark x1="18877" y1="46400" x2="18877" y2="46400"/>
                          <a14:foregroundMark x1="19860" y1="47520" x2="19860" y2="47520"/>
                          <a14:foregroundMark x1="20140" y1="48960" x2="20140" y2="48960"/>
                          <a14:foregroundMark x1="21825" y1="52000" x2="21825" y2="52000"/>
                          <a14:foregroundMark x1="21404" y1="51840" x2="21404" y2="51840"/>
                          <a14:foregroundMark x1="26807" y1="95200" x2="26807" y2="95200"/>
                          <a14:foregroundMark x1="34105" y1="64000" x2="34105" y2="64000"/>
                          <a14:backgroundMark x1="18175" y1="35040" x2="18175" y2="35040"/>
                          <a14:backgroundMark x1="28140" y1="97120" x2="28140" y2="97120"/>
                          <a14:backgroundMark x1="27930" y1="97600" x2="27930" y2="97600"/>
                          <a14:backgroundMark x1="28491" y1="98080" x2="28491" y2="98080"/>
                          <a14:backgroundMark x1="27930" y1="97440" x2="27930" y2="97440"/>
                          <a14:backgroundMark x1="28070" y1="97280" x2="28070" y2="9728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45" t="30210" r="63233"/>
            <a:stretch/>
          </p:blipFill>
          <p:spPr bwMode="auto">
            <a:xfrm>
              <a:off x="7741009" y="1054348"/>
              <a:ext cx="3518452" cy="4154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File:Mexico Brazil Locator.png - Wikipedia">
              <a:extLst>
                <a:ext uri="{FF2B5EF4-FFF2-40B4-BE49-F238E27FC236}">
                  <a16:creationId xmlns:a16="http://schemas.microsoft.com/office/drawing/2014/main" id="{05E5C30A-51DC-4A49-9597-4A7EB0468C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duotone>
                <a:prstClr val="black"/>
                <a:srgbClr val="00A0C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35520" b="97280" l="12632" r="34105">
                          <a14:foregroundMark x1="16070" y1="44000" x2="16070" y2="44000"/>
                          <a14:foregroundMark x1="19368" y1="43840" x2="19368" y2="43840"/>
                          <a14:foregroundMark x1="18596" y1="46880" x2="18596" y2="46880"/>
                          <a14:foregroundMark x1="18526" y1="47840" x2="18526" y2="47840"/>
                          <a14:foregroundMark x1="18877" y1="46400" x2="18877" y2="46400"/>
                          <a14:foregroundMark x1="19860" y1="47520" x2="19860" y2="47520"/>
                          <a14:foregroundMark x1="20140" y1="48960" x2="20140" y2="48960"/>
                          <a14:foregroundMark x1="21825" y1="52000" x2="21825" y2="52000"/>
                          <a14:foregroundMark x1="21404" y1="51840" x2="21404" y2="51840"/>
                          <a14:foregroundMark x1="26807" y1="95200" x2="26807" y2="95200"/>
                          <a14:backgroundMark x1="18175" y1="35040" x2="18175" y2="35040"/>
                          <a14:backgroundMark x1="28140" y1="97120" x2="28140" y2="97120"/>
                          <a14:backgroundMark x1="27930" y1="97600" x2="27930" y2="97600"/>
                          <a14:backgroundMark x1="28491" y1="98080" x2="28491" y2="98080"/>
                          <a14:backgroundMark x1="27930" y1="97440" x2="27930" y2="97440"/>
                          <a14:backgroundMark x1="28070" y1="97280" x2="28070" y2="97280"/>
                          <a14:backgroundMark x1="15509" y1="43840" x2="15509" y2="43840"/>
                          <a14:backgroundMark x1="15509" y1="41440" x2="15509" y2="41440"/>
                          <a14:backgroundMark x1="16140" y1="39200" x2="16140" y2="39200"/>
                          <a14:backgroundMark x1="16982" y1="45760" x2="16982" y2="45760"/>
                          <a14:backgroundMark x1="18737" y1="34240" x2="18737" y2="34240"/>
                          <a14:backgroundMark x1="19228" y1="44160" x2="19228" y2="44160"/>
                          <a14:backgroundMark x1="19088" y1="43360" x2="19088" y2="43360"/>
                          <a14:backgroundMark x1="16772" y1="45280" x2="16772" y2="45280"/>
                          <a14:backgroundMark x1="12842" y1="38720" x2="12842" y2="38720"/>
                          <a14:backgroundMark x1="12842" y1="37600" x2="12842" y2="37600"/>
                          <a14:backgroundMark x1="12561" y1="36480" x2="12561" y2="36480"/>
                          <a14:backgroundMark x1="12842" y1="34880" x2="12842" y2="34880"/>
                          <a14:backgroundMark x1="12491" y1="35520" x2="12491" y2="35520"/>
                          <a14:backgroundMark x1="12912" y1="38880" x2="12912" y2="38880"/>
                          <a14:backgroundMark x1="12772" y1="38560" x2="12772" y2="38560"/>
                          <a14:backgroundMark x1="12912" y1="38720" x2="12912" y2="38720"/>
                          <a14:backgroundMark x1="12772" y1="38720" x2="12772" y2="38720"/>
                          <a14:backgroundMark x1="12842" y1="38400" x2="12842" y2="38400"/>
                          <a14:backgroundMark x1="16070" y1="44320" x2="16070" y2="44320"/>
                          <a14:backgroundMark x1="16070" y1="43840" x2="16070" y2="43840"/>
                          <a14:backgroundMark x1="32281" y1="71360" x2="32281" y2="71360"/>
                          <a14:backgroundMark x1="28912" y1="62720" x2="28912" y2="62720"/>
                          <a14:backgroundMark x1="26947" y1="64320" x2="26947" y2="64320"/>
                          <a14:backgroundMark x1="26246" y1="62720" x2="26246" y2="62720"/>
                          <a14:backgroundMark x1="26667" y1="60960" x2="26667" y2="60960"/>
                          <a14:backgroundMark x1="26947" y1="60800" x2="26947" y2="60800"/>
                          <a14:backgroundMark x1="28000" y1="62240" x2="28000" y2="62240"/>
                          <a14:backgroundMark x1="29333" y1="66240" x2="29333" y2="66240"/>
                          <a14:backgroundMark x1="29825" y1="70080" x2="29825" y2="70080"/>
                          <a14:backgroundMark x1="30456" y1="64480" x2="30456" y2="64480"/>
                          <a14:backgroundMark x1="31368" y1="63840" x2="31368" y2="63840"/>
                          <a14:backgroundMark x1="32491" y1="64320" x2="32491" y2="64320"/>
                          <a14:backgroundMark x1="31789" y1="72640" x2="31789" y2="72640"/>
                          <a14:backgroundMark x1="31649" y1="68640" x2="31649" y2="68640"/>
                          <a14:backgroundMark x1="31439" y1="68000" x2="31439" y2="68000"/>
                          <a14:backgroundMark x1="30596" y1="67840" x2="30596" y2="67840"/>
                          <a14:backgroundMark x1="28351" y1="67680" x2="28351" y2="67680"/>
                          <a14:backgroundMark x1="27860" y1="66400" x2="27860" y2="66400"/>
                          <a14:backgroundMark x1="26596" y1="65280" x2="26596" y2="65280"/>
                          <a14:backgroundMark x1="26105" y1="63520" x2="26105" y2="63520"/>
                          <a14:backgroundMark x1="25825" y1="63200" x2="25825" y2="63200"/>
                          <a14:backgroundMark x1="25825" y1="60320" x2="25825" y2="60320"/>
                          <a14:backgroundMark x1="25404" y1="59520" x2="25404" y2="59520"/>
                          <a14:backgroundMark x1="25754" y1="58880" x2="25754" y2="58880"/>
                          <a14:backgroundMark x1="26596" y1="58240" x2="26596" y2="58240"/>
                          <a14:backgroundMark x1="27018" y1="58560" x2="27228" y2="59200"/>
                          <a14:backgroundMark x1="27579" y1="59520" x2="27579" y2="59520"/>
                          <a14:backgroundMark x1="28421" y1="60000" x2="28421" y2="60000"/>
                          <a14:backgroundMark x1="29825" y1="61760" x2="29825" y2="61760"/>
                          <a14:backgroundMark x1="25965" y1="61120" x2="30456" y2="69280"/>
                          <a14:backgroundMark x1="32421" y1="63840" x2="30035" y2="72960"/>
                          <a14:backgroundMark x1="24702" y1="62720" x2="24772" y2="63840"/>
                          <a14:backgroundMark x1="24772" y1="64000" x2="24772" y2="64000"/>
                          <a14:backgroundMark x1="24772" y1="63360" x2="28421" y2="60000"/>
                          <a14:backgroundMark x1="28421" y1="60000" x2="31930" y2="62880"/>
                          <a14:backgroundMark x1="31930" y1="62880" x2="31579" y2="72160"/>
                          <a14:backgroundMark x1="31579" y1="72160" x2="24772" y2="63520"/>
                          <a14:backgroundMark x1="24912" y1="64160" x2="24912" y2="64160"/>
                          <a14:backgroundMark x1="23789" y1="64160" x2="23789" y2="64160"/>
                          <a14:backgroundMark x1="24912" y1="61920" x2="24912" y2="61920"/>
                          <a14:backgroundMark x1="27228" y1="59040" x2="27228" y2="59040"/>
                          <a14:backgroundMark x1="26877" y1="58240" x2="26877" y2="58240"/>
                          <a14:backgroundMark x1="27860" y1="59040" x2="27860" y2="59040"/>
                          <a14:backgroundMark x1="28702" y1="58720" x2="28702" y2="58720"/>
                          <a14:backgroundMark x1="28702" y1="58720" x2="28702" y2="58720"/>
                          <a14:backgroundMark x1="32421" y1="62720" x2="32421" y2="62720"/>
                          <a14:backgroundMark x1="32421" y1="62720" x2="32421" y2="62720"/>
                          <a14:backgroundMark x1="33193" y1="64320" x2="33193" y2="64320"/>
                          <a14:backgroundMark x1="33193" y1="64320" x2="33193" y2="64320"/>
                          <a14:backgroundMark x1="33193" y1="64320" x2="33193" y2="64320"/>
                          <a14:backgroundMark x1="33193" y1="64320" x2="33193" y2="64320"/>
                          <a14:backgroundMark x1="33193" y1="64320" x2="33193" y2="64320"/>
                          <a14:backgroundMark x1="32842" y1="62720" x2="32842" y2="62720"/>
                          <a14:backgroundMark x1="32561" y1="62400" x2="32351" y2="71200"/>
                          <a14:backgroundMark x1="32351" y1="71200" x2="30737" y2="75840"/>
                          <a14:backgroundMark x1="28772" y1="71040" x2="30596" y2="79840"/>
                          <a14:backgroundMark x1="34175" y1="64480" x2="34175" y2="64480"/>
                          <a14:backgroundMark x1="33965" y1="64160" x2="33965" y2="64960"/>
                          <a14:backgroundMark x1="34175" y1="63360" x2="34175" y2="648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45" t="30210" r="63233"/>
            <a:stretch/>
          </p:blipFill>
          <p:spPr bwMode="auto">
            <a:xfrm>
              <a:off x="7744584" y="1056205"/>
              <a:ext cx="3518452" cy="4154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A877F57B-203E-414A-A32A-AEB37D8B57F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315" t="21698" r="88797" b="29246"/>
          <a:stretch/>
        </p:blipFill>
        <p:spPr>
          <a:xfrm>
            <a:off x="3756774" y="1129021"/>
            <a:ext cx="524079" cy="122816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35CC3FE-BA41-4816-893C-C716150BAC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315" t="32856" r="88676" b="17313"/>
          <a:stretch/>
        </p:blipFill>
        <p:spPr>
          <a:xfrm>
            <a:off x="362087" y="1606378"/>
            <a:ext cx="649719" cy="151532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C20BA3B-0B8D-4718-A257-E661006EE3E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315" t="32767" r="88538" b="16918"/>
          <a:stretch/>
        </p:blipFill>
        <p:spPr>
          <a:xfrm>
            <a:off x="4972591" y="3303963"/>
            <a:ext cx="588737" cy="135525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BD51A14-78CD-4D1B-8B6B-B81748F769F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315" t="44769" r="88686" b="5597"/>
          <a:stretch/>
        </p:blipFill>
        <p:spPr>
          <a:xfrm>
            <a:off x="1718473" y="4098641"/>
            <a:ext cx="582795" cy="135611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D93ED4F-8EC3-4C2C-B28A-8EBB059578CC}"/>
              </a:ext>
            </a:extLst>
          </p:cNvPr>
          <p:cNvSpPr txBox="1"/>
          <p:nvPr/>
        </p:nvSpPr>
        <p:spPr>
          <a:xfrm>
            <a:off x="362087" y="3129621"/>
            <a:ext cx="619774" cy="348685"/>
          </a:xfrm>
          <a:prstGeom prst="rect">
            <a:avLst/>
          </a:prstGeom>
          <a:solidFill>
            <a:srgbClr val="22B14C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defTabSz="761970">
              <a:defRPr/>
            </a:pPr>
            <a:r>
              <a:rPr lang="en-US" sz="833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E MEX</a:t>
            </a:r>
          </a:p>
          <a:p>
            <a:pPr algn="ctr" defTabSz="761970">
              <a:defRPr/>
            </a:pPr>
            <a:r>
              <a:rPr lang="es-419" sz="833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</a:t>
            </a:r>
            <a:r>
              <a:rPr lang="en-US" sz="833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NT - GF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78B7DFF-F921-4D4D-B675-B627E1B9B4ED}"/>
              </a:ext>
            </a:extLst>
          </p:cNvPr>
          <p:cNvSpPr txBox="1"/>
          <p:nvPr/>
        </p:nvSpPr>
        <p:spPr>
          <a:xfrm>
            <a:off x="1705434" y="5454753"/>
            <a:ext cx="582795" cy="297646"/>
          </a:xfrm>
          <a:prstGeom prst="rect">
            <a:avLst/>
          </a:prstGeom>
          <a:solidFill>
            <a:srgbClr val="64A5B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defTabSz="761970">
              <a:defRPr/>
            </a:pP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E MCO</a:t>
            </a:r>
          </a:p>
          <a:p>
            <a:pPr algn="ctr" defTabSz="761970">
              <a:defRPr/>
            </a:pPr>
            <a:r>
              <a:rPr lang="es-419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</a:t>
            </a: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NT - GF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ACCAFEC-6DBC-44B8-BE23-F0F7031BD9D0}"/>
              </a:ext>
            </a:extLst>
          </p:cNvPr>
          <p:cNvSpPr txBox="1"/>
          <p:nvPr/>
        </p:nvSpPr>
        <p:spPr>
          <a:xfrm>
            <a:off x="4978840" y="4651386"/>
            <a:ext cx="548640" cy="297646"/>
          </a:xfrm>
          <a:prstGeom prst="rect">
            <a:avLst/>
          </a:prstGeom>
          <a:solidFill>
            <a:srgbClr val="FF7E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defTabSz="761970">
              <a:defRPr/>
            </a:pP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E BRA</a:t>
            </a:r>
          </a:p>
          <a:p>
            <a:pPr algn="ctr" defTabSz="761970">
              <a:defRPr/>
            </a:pPr>
            <a:r>
              <a:rPr lang="es-419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</a:t>
            </a: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NT - GF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40DD784-649D-465D-BE08-A9BB6E38B931}"/>
              </a:ext>
            </a:extLst>
          </p:cNvPr>
          <p:cNvSpPr txBox="1"/>
          <p:nvPr/>
        </p:nvSpPr>
        <p:spPr>
          <a:xfrm>
            <a:off x="3744048" y="2357184"/>
            <a:ext cx="548640" cy="400302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defTabSz="761970">
              <a:defRPr/>
            </a:pP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LatAm Manager</a:t>
            </a:r>
          </a:p>
          <a:p>
            <a:pPr algn="ctr" defTabSz="761970">
              <a:defRPr/>
            </a:pPr>
            <a:r>
              <a:rPr lang="en-US" sz="667" dirty="0">
                <a:solidFill>
                  <a:prstClr val="white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ENT - GF</a:t>
            </a:r>
          </a:p>
        </p:txBody>
      </p:sp>
      <p:pic>
        <p:nvPicPr>
          <p:cNvPr id="39" name="Picture 4" descr="File:Flag of Mexico.png - Wikimedia Commons">
            <a:extLst>
              <a:ext uri="{FF2B5EF4-FFF2-40B4-BE49-F238E27FC236}">
                <a16:creationId xmlns:a16="http://schemas.microsoft.com/office/drawing/2014/main" id="{6817A263-DEAF-403B-9DF1-E958D9C5F9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23" y="3486218"/>
            <a:ext cx="425145" cy="242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File:Flag of Brazil.svg">
            <a:extLst>
              <a:ext uri="{FF2B5EF4-FFF2-40B4-BE49-F238E27FC236}">
                <a16:creationId xmlns:a16="http://schemas.microsoft.com/office/drawing/2014/main" id="{B9AB4131-2F84-4092-8A0B-CAE93730C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72797" y="4933514"/>
            <a:ext cx="396174" cy="258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Resultado de imagen para bandera colombia">
            <a:extLst>
              <a:ext uri="{FF2B5EF4-FFF2-40B4-BE49-F238E27FC236}">
                <a16:creationId xmlns:a16="http://schemas.microsoft.com/office/drawing/2014/main" id="{A29FC31C-9B93-479C-A0A7-1F21BFACCF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279" y="2760667"/>
            <a:ext cx="361347" cy="24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Resultado de imagen para bandera colombia">
            <a:extLst>
              <a:ext uri="{FF2B5EF4-FFF2-40B4-BE49-F238E27FC236}">
                <a16:creationId xmlns:a16="http://schemas.microsoft.com/office/drawing/2014/main" id="{61270A7B-6A3F-4D84-AC93-A34CB499D8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528" y="5752114"/>
            <a:ext cx="300517" cy="199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477DB147-6FDF-4DC5-AA29-F91BCFC6E0F7}"/>
              </a:ext>
            </a:extLst>
          </p:cNvPr>
          <p:cNvSpPr txBox="1"/>
          <p:nvPr/>
        </p:nvSpPr>
        <p:spPr>
          <a:xfrm>
            <a:off x="6793200" y="1293824"/>
            <a:ext cx="5167038" cy="4710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Part of the Enterprise GTM Team - Latam</a:t>
            </a: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pPr marL="380985" indent="-380985">
              <a:buFontTx/>
              <a:buChar char="-"/>
            </a:pPr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endParaRPr lang="pt-BR" sz="1667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  <a:p>
            <a: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CE Global structure:</a:t>
            </a:r>
          </a:p>
          <a:p>
            <a:pPr marL="195784" indent="-195784">
              <a:buFontTx/>
              <a:buChar char="-"/>
            </a:pPr>
            <a: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50+ resources NAMER (BV/CFM, Tooling and Benchmarking)</a:t>
            </a:r>
          </a:p>
          <a:p>
            <a:pPr marL="195784" indent="-195784">
              <a:buFontTx/>
              <a:buChar char="-"/>
            </a:pPr>
            <a: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20+ EMEA </a:t>
            </a:r>
          </a:p>
          <a:p>
            <a:pPr marL="195784" indent="-195784">
              <a:buFontTx/>
              <a:buChar char="-"/>
            </a:pPr>
            <a: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10+ APJ </a:t>
            </a:r>
            <a:br>
              <a:rPr lang="pt-BR" sz="1667" dirty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</a:br>
            <a:endParaRPr lang="en-US" sz="1667" dirty="0" err="1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13E9EDDD-A18A-45E1-8EE4-3C3B01D943A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1041" t="15856" r="4454" b="5776"/>
          <a:stretch/>
        </p:blipFill>
        <p:spPr>
          <a:xfrm>
            <a:off x="6913577" y="1794923"/>
            <a:ext cx="4416255" cy="2303718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53CBF9A-9725-4D99-C412-F46F44B408EE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1011806" y="2364043"/>
            <a:ext cx="706667" cy="23952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57B6204-2FBF-7FC6-9637-1DD0C57352FD}"/>
              </a:ext>
            </a:extLst>
          </p:cNvPr>
          <p:cNvCxnSpPr>
            <a:cxnSpLocks/>
          </p:cNvCxnSpPr>
          <p:nvPr/>
        </p:nvCxnSpPr>
        <p:spPr>
          <a:xfrm flipV="1">
            <a:off x="2330116" y="4282927"/>
            <a:ext cx="659877" cy="468757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180CF97-395D-5C2C-E7A6-3096F3964DB7}"/>
              </a:ext>
            </a:extLst>
          </p:cNvPr>
          <p:cNvCxnSpPr>
            <a:cxnSpLocks/>
          </p:cNvCxnSpPr>
          <p:nvPr/>
        </p:nvCxnSpPr>
        <p:spPr>
          <a:xfrm>
            <a:off x="4099147" y="3857038"/>
            <a:ext cx="813256" cy="157091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04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C5B7E12-A60C-3C17-3B6D-270B45A14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948767"/>
            <a:ext cx="10464800" cy="727655"/>
          </a:xfrm>
        </p:spPr>
        <p:txBody>
          <a:bodyPr/>
          <a:lstStyle/>
          <a:p>
            <a:r>
              <a:rPr lang="en-MX" dirty="0"/>
              <a:t>The Objective of this trainin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77A108-0717-8065-8CE6-3A1B57BAE8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47059" y="2016306"/>
            <a:ext cx="5334000" cy="1468094"/>
          </a:xfrm>
        </p:spPr>
        <p:txBody>
          <a:bodyPr/>
          <a:lstStyle/>
          <a:p>
            <a:r>
              <a:rPr lang="en-MX" sz="2400" dirty="0"/>
              <a:t>Cloud Economics</a:t>
            </a:r>
          </a:p>
          <a:p>
            <a:pPr lvl="1"/>
            <a:r>
              <a:rPr lang="en-MX" sz="1400" dirty="0">
                <a:solidFill>
                  <a:schemeClr val="accent1"/>
                </a:solidFill>
              </a:rPr>
              <a:t>What is it? </a:t>
            </a:r>
          </a:p>
          <a:p>
            <a:pPr lvl="1"/>
            <a:r>
              <a:rPr lang="en-MX" sz="1400" dirty="0">
                <a:solidFill>
                  <a:schemeClr val="accent1"/>
                </a:solidFill>
              </a:rPr>
              <a:t>What is business value?</a:t>
            </a:r>
          </a:p>
          <a:p>
            <a:pPr lvl="1"/>
            <a:r>
              <a:rPr lang="en-MX" sz="1400" dirty="0">
                <a:solidFill>
                  <a:schemeClr val="accent1"/>
                </a:solidFill>
              </a:rPr>
              <a:t>What is Cloud Financial Management?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B20F850-DD8D-EC69-9524-9CA011DB11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5619" y="2488740"/>
            <a:ext cx="5334000" cy="424732"/>
          </a:xfrm>
        </p:spPr>
        <p:txBody>
          <a:bodyPr/>
          <a:lstStyle/>
          <a:p>
            <a:r>
              <a:rPr lang="en-MX" sz="2000" dirty="0"/>
              <a:t>What value can we </a:t>
            </a:r>
            <a:r>
              <a:rPr lang="en-MX" sz="2400" dirty="0"/>
              <a:t>povide</a:t>
            </a:r>
            <a:r>
              <a:rPr lang="en-MX" sz="2000" dirty="0"/>
              <a:t>?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F3CDAB1-514A-B3CA-B5A6-7CE5385CCD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2689" y="3788541"/>
            <a:ext cx="5334000" cy="424732"/>
          </a:xfrm>
        </p:spPr>
        <p:txBody>
          <a:bodyPr/>
          <a:lstStyle/>
          <a:p>
            <a:r>
              <a:rPr lang="en-MX" sz="2400" dirty="0"/>
              <a:t>How to improve my business?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1EBD90F-A598-4D0B-B0B3-F8C8B60D39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6199" y="4882036"/>
            <a:ext cx="5334000" cy="369332"/>
          </a:xfrm>
        </p:spPr>
        <p:txBody>
          <a:bodyPr/>
          <a:lstStyle/>
          <a:p>
            <a:r>
              <a:rPr lang="en-MX" sz="2000" dirty="0"/>
              <a:t>How to improve my win rate?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0A450A9-FEE3-58F2-98BE-E60F1F0E6525}"/>
              </a:ext>
            </a:extLst>
          </p:cNvPr>
          <p:cNvSpPr txBox="1">
            <a:spLocks/>
          </p:cNvSpPr>
          <p:nvPr/>
        </p:nvSpPr>
        <p:spPr>
          <a:xfrm>
            <a:off x="480059" y="3788542"/>
            <a:ext cx="5334000" cy="424732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SzPct val="90000"/>
              <a:buFont typeface="Arial" panose="020B0604020202020204" pitchFamily="34" charset="0"/>
              <a:buChar char="•"/>
              <a:defRPr sz="2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SzPct val="90000"/>
              <a:buFont typeface="Wingdings" panose="05000000000000000000" pitchFamily="2" charset="2"/>
              <a:buChar char="§"/>
              <a:defRPr sz="24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2pPr>
            <a:lvl3pPr marL="8572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mazon Ember" panose="020B0603020204020204" pitchFamily="34" charset="0"/>
              <a:buChar char="–"/>
              <a:defRPr sz="20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3pPr>
            <a:lvl4pPr marL="103028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4pPr>
            <a:lvl5pPr marL="12017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583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MX" sz="2000" dirty="0"/>
              <a:t>How to become a truster </a:t>
            </a:r>
            <a:r>
              <a:rPr lang="en-MX" sz="2400" dirty="0"/>
              <a:t>advisor</a:t>
            </a:r>
            <a:r>
              <a:rPr lang="en-MX" sz="20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750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94219CC6-DAB4-45CF-A348-610642E18A7B}"/>
              </a:ext>
            </a:extLst>
          </p:cNvPr>
          <p:cNvSpPr/>
          <p:nvPr/>
        </p:nvSpPr>
        <p:spPr bwMode="auto">
          <a:xfrm>
            <a:off x="5514204" y="2369691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840C8F5-662D-4601-926B-D809B9496B6D}"/>
              </a:ext>
            </a:extLst>
          </p:cNvPr>
          <p:cNvSpPr/>
          <p:nvPr/>
        </p:nvSpPr>
        <p:spPr bwMode="auto">
          <a:xfrm>
            <a:off x="939348" y="2389636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C530DF-FFA1-4070-93B5-39FB56836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5" y="611717"/>
            <a:ext cx="11652356" cy="899665"/>
          </a:xfrm>
        </p:spPr>
        <p:txBody>
          <a:bodyPr/>
          <a:lstStyle/>
          <a:p>
            <a:r>
              <a:rPr lang="de-DE" sz="3200" dirty="0"/>
              <a:t>What is in the scope?</a:t>
            </a:r>
            <a:endParaRPr lang="en-US" sz="32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1CD5018-9582-484A-A3F5-7B059F1EB1C1}"/>
              </a:ext>
            </a:extLst>
          </p:cNvPr>
          <p:cNvSpPr txBox="1">
            <a:spLocks/>
          </p:cNvSpPr>
          <p:nvPr/>
        </p:nvSpPr>
        <p:spPr>
          <a:xfrm>
            <a:off x="269769" y="1478997"/>
            <a:ext cx="11474212" cy="544765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dirty="0"/>
              <a:t>Mixture of on demand videos, </a:t>
            </a:r>
            <a:r>
              <a:rPr lang="en-US" sz="1800" dirty="0">
                <a:solidFill>
                  <a:schemeClr val="accent1"/>
                </a:solidFill>
              </a:rPr>
              <a:t>AWS</a:t>
            </a:r>
            <a:r>
              <a:rPr lang="en-US" sz="1800" dirty="0"/>
              <a:t> consulting guidance &amp; hands-on sessions to help you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3AD98DF-A2CC-45A5-A5A1-E2882E515FB6}"/>
              </a:ext>
            </a:extLst>
          </p:cNvPr>
          <p:cNvSpPr txBox="1">
            <a:spLocks/>
          </p:cNvSpPr>
          <p:nvPr/>
        </p:nvSpPr>
        <p:spPr>
          <a:xfrm>
            <a:off x="2687136" y="4005190"/>
            <a:ext cx="2268000" cy="1791260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Leverage</a:t>
            </a:r>
            <a:r>
              <a:rPr lang="en-US" sz="1800" dirty="0"/>
              <a:t> free AWS templates and tools for data collection, mapping and pricing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3320495-59C7-4BE2-AD42-9321889BFFBF}"/>
              </a:ext>
            </a:extLst>
          </p:cNvPr>
          <p:cNvSpPr/>
          <p:nvPr/>
        </p:nvSpPr>
        <p:spPr bwMode="auto">
          <a:xfrm>
            <a:off x="3226776" y="2389636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A500625-07FA-498B-B7C6-142E42592834}"/>
              </a:ext>
            </a:extLst>
          </p:cNvPr>
          <p:cNvSpPr txBox="1">
            <a:spLocks/>
          </p:cNvSpPr>
          <p:nvPr/>
        </p:nvSpPr>
        <p:spPr>
          <a:xfrm>
            <a:off x="399708" y="4005190"/>
            <a:ext cx="2268000" cy="1541961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dirty="0"/>
              <a:t>Why </a:t>
            </a:r>
            <a:r>
              <a:rPr lang="en-US" sz="1800" dirty="0">
                <a:solidFill>
                  <a:schemeClr val="accent1"/>
                </a:solidFill>
              </a:rPr>
              <a:t>Cloud Economics </a:t>
            </a:r>
            <a:r>
              <a:rPr lang="en-US" sz="1800" dirty="0"/>
              <a:t>will help you to accelerate your busines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5CFF6A1-6DD1-409F-9BA8-52F30A75E05E}"/>
              </a:ext>
            </a:extLst>
          </p:cNvPr>
          <p:cNvSpPr txBox="1">
            <a:spLocks/>
          </p:cNvSpPr>
          <p:nvPr/>
        </p:nvSpPr>
        <p:spPr>
          <a:xfrm>
            <a:off x="7276517" y="4005190"/>
            <a:ext cx="2268000" cy="1791260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Tackle  </a:t>
            </a:r>
            <a:r>
              <a:rPr lang="en-US" sz="1800" dirty="0"/>
              <a:t>CXOs challenge &amp; most important financial metrics to decision making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D0B1EB2-3EEE-463D-9A84-D852AE20215C}"/>
              </a:ext>
            </a:extLst>
          </p:cNvPr>
          <p:cNvSpPr txBox="1">
            <a:spLocks/>
          </p:cNvSpPr>
          <p:nvPr/>
        </p:nvSpPr>
        <p:spPr>
          <a:xfrm>
            <a:off x="9553575" y="4005190"/>
            <a:ext cx="2268000" cy="1791260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Gain </a:t>
            </a:r>
            <a:r>
              <a:rPr lang="en-US" sz="1800" dirty="0"/>
              <a:t>hands on experience in calculating optimized migration Business Case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3617F14-18EA-4716-A727-CB5F3D5B5FCD}"/>
              </a:ext>
            </a:extLst>
          </p:cNvPr>
          <p:cNvSpPr/>
          <p:nvPr/>
        </p:nvSpPr>
        <p:spPr bwMode="auto">
          <a:xfrm>
            <a:off x="10089061" y="2389636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437506E5-F3D4-4377-BDC0-883266323BD6}"/>
              </a:ext>
            </a:extLst>
          </p:cNvPr>
          <p:cNvSpPr txBox="1">
            <a:spLocks/>
          </p:cNvSpPr>
          <p:nvPr/>
        </p:nvSpPr>
        <p:spPr>
          <a:xfrm>
            <a:off x="4987444" y="4005190"/>
            <a:ext cx="2268000" cy="1541961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Get </a:t>
            </a:r>
            <a:r>
              <a:rPr lang="en-US" sz="1800" dirty="0"/>
              <a:t>access to  consulting content to improve your business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ACF85C3-B81D-4EC0-BE52-DFA7752F966A}"/>
              </a:ext>
            </a:extLst>
          </p:cNvPr>
          <p:cNvSpPr/>
          <p:nvPr/>
        </p:nvSpPr>
        <p:spPr bwMode="auto">
          <a:xfrm>
            <a:off x="7801632" y="2389636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D232FEDA-0472-4150-AEB5-FCA2245877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678" y="2443844"/>
            <a:ext cx="1005487" cy="10080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1BF16CCD-FFCA-4F09-BA2E-77D6E63C3C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56" y="2471408"/>
            <a:ext cx="1005487" cy="10080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9BAA223-8AC3-4FCC-85B0-F637D47952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136" y="2472419"/>
            <a:ext cx="1008000" cy="10080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9E1BBB4-6489-46AB-97FF-A6A308CE50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865" y="2472419"/>
            <a:ext cx="1005487" cy="10080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1E57B9C-AA3C-4F0D-8E24-EED46D53F19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977" y="2443844"/>
            <a:ext cx="1008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242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5" grpId="0" animBg="1"/>
      <p:bldP spid="15" grpId="0"/>
      <p:bldP spid="31" grpId="0" animBg="1"/>
      <p:bldP spid="20" grpId="0"/>
      <p:bldP spid="21" grpId="0"/>
      <p:bldP spid="22" grpId="0"/>
      <p:bldP spid="36" grpId="0" animBg="1"/>
      <p:bldP spid="38" grpId="0"/>
      <p:bldP spid="4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94219CC6-DAB4-45CF-A348-610642E18A7B}"/>
              </a:ext>
            </a:extLst>
          </p:cNvPr>
          <p:cNvSpPr/>
          <p:nvPr/>
        </p:nvSpPr>
        <p:spPr bwMode="auto">
          <a:xfrm>
            <a:off x="6864977" y="2411177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840C8F5-662D-4601-926B-D809B9496B6D}"/>
              </a:ext>
            </a:extLst>
          </p:cNvPr>
          <p:cNvSpPr/>
          <p:nvPr/>
        </p:nvSpPr>
        <p:spPr bwMode="auto">
          <a:xfrm>
            <a:off x="1055127" y="2411177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C530DF-FFA1-4070-93B5-39FB56836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6" y="579332"/>
            <a:ext cx="11652356" cy="899665"/>
          </a:xfrm>
        </p:spPr>
        <p:txBody>
          <a:bodyPr/>
          <a:lstStyle/>
          <a:p>
            <a:r>
              <a:rPr lang="de-DE" sz="3200" dirty="0"/>
              <a:t>What is in for you?</a:t>
            </a:r>
            <a:endParaRPr lang="en-US" sz="32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1CD5018-9582-484A-A3F5-7B059F1EB1C1}"/>
              </a:ext>
            </a:extLst>
          </p:cNvPr>
          <p:cNvSpPr txBox="1">
            <a:spLocks/>
          </p:cNvSpPr>
          <p:nvPr/>
        </p:nvSpPr>
        <p:spPr>
          <a:xfrm>
            <a:off x="269768" y="1478997"/>
            <a:ext cx="11922232" cy="544765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dirty="0"/>
              <a:t>Tools and best practices for calculating Business Cases and leveraging AWS investment programs to: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0A19C16-3AD2-4BED-83FD-1E7B5359F7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487" y="2501537"/>
            <a:ext cx="1008000" cy="1008000"/>
          </a:xfrm>
          <a:prstGeom prst="rect">
            <a:avLst/>
          </a:prstGeom>
        </p:spPr>
      </p:pic>
      <p:pic>
        <p:nvPicPr>
          <p:cNvPr id="33" name="Content Placeholder 4">
            <a:extLst>
              <a:ext uri="{FF2B5EF4-FFF2-40B4-BE49-F238E27FC236}">
                <a16:creationId xmlns:a16="http://schemas.microsoft.com/office/drawing/2014/main" id="{7F5A8CCF-B54C-4E03-84DE-3DC62E341D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6594" y="2501537"/>
            <a:ext cx="1005486" cy="1008000"/>
          </a:xfr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3AD98DF-A2CC-45A5-A5A1-E2882E515FB6}"/>
              </a:ext>
            </a:extLst>
          </p:cNvPr>
          <p:cNvSpPr txBox="1">
            <a:spLocks/>
          </p:cNvSpPr>
          <p:nvPr/>
        </p:nvSpPr>
        <p:spPr>
          <a:xfrm>
            <a:off x="3174694" y="4005190"/>
            <a:ext cx="2759436" cy="1043363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Increase </a:t>
            </a:r>
            <a:r>
              <a:rPr lang="en-US" sz="1800" dirty="0"/>
              <a:t>Business Case accuracy and comprehensiveness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3320495-59C7-4BE2-AD42-9321889BFFBF}"/>
              </a:ext>
            </a:extLst>
          </p:cNvPr>
          <p:cNvSpPr/>
          <p:nvPr/>
        </p:nvSpPr>
        <p:spPr bwMode="auto">
          <a:xfrm>
            <a:off x="3960052" y="2411177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8C38D2D-F049-4499-8CEC-3961E7829A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412" y="2501537"/>
            <a:ext cx="1008000" cy="1008000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A500625-07FA-498B-B7C6-142E42592834}"/>
              </a:ext>
            </a:extLst>
          </p:cNvPr>
          <p:cNvSpPr txBox="1">
            <a:spLocks/>
          </p:cNvSpPr>
          <p:nvPr/>
        </p:nvSpPr>
        <p:spPr>
          <a:xfrm>
            <a:off x="269769" y="4005190"/>
            <a:ext cx="2759436" cy="79406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Increase </a:t>
            </a:r>
            <a:r>
              <a:rPr lang="en-US" sz="1800" dirty="0"/>
              <a:t>your Cloud Economics knowledg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5CFF6A1-6DD1-409F-9BA8-52F30A75E05E}"/>
              </a:ext>
            </a:extLst>
          </p:cNvPr>
          <p:cNvSpPr txBox="1">
            <a:spLocks/>
          </p:cNvSpPr>
          <p:nvPr/>
        </p:nvSpPr>
        <p:spPr>
          <a:xfrm>
            <a:off x="6079619" y="4005190"/>
            <a:ext cx="2759436" cy="79406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Increase </a:t>
            </a:r>
            <a:r>
              <a:rPr lang="en-US" sz="1800" dirty="0"/>
              <a:t>win rates and deal siz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D0B1EB2-3EEE-463D-9A84-D852AE20215C}"/>
              </a:ext>
            </a:extLst>
          </p:cNvPr>
          <p:cNvSpPr txBox="1">
            <a:spLocks/>
          </p:cNvSpPr>
          <p:nvPr/>
        </p:nvSpPr>
        <p:spPr>
          <a:xfrm>
            <a:off x="8984545" y="4005190"/>
            <a:ext cx="2759436" cy="79406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667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336143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560238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784334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1008429" marR="0" indent="0" algn="l" defTabSz="914362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667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2514494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5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6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8" indent="-228591" algn="l" defTabSz="9143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Increase </a:t>
            </a:r>
            <a:r>
              <a:rPr lang="en-US" sz="1800" dirty="0"/>
              <a:t>downstream revenue opportunitie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3617F14-18EA-4716-A727-CB5F3D5B5FCD}"/>
              </a:ext>
            </a:extLst>
          </p:cNvPr>
          <p:cNvSpPr/>
          <p:nvPr/>
        </p:nvSpPr>
        <p:spPr bwMode="auto">
          <a:xfrm>
            <a:off x="9769903" y="2411177"/>
            <a:ext cx="1188720" cy="11887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0C23830-171F-4BCA-A5D2-268A0B01AD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263" y="2501537"/>
            <a:ext cx="1008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4804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5" grpId="0" animBg="1"/>
      <p:bldP spid="15" grpId="0"/>
      <p:bldP spid="31" grpId="0" animBg="1"/>
      <p:bldP spid="20" grpId="0"/>
      <p:bldP spid="21" grpId="0"/>
      <p:bldP spid="22" grpId="0"/>
      <p:bldP spid="3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378BC42-07CD-42FB-A9A4-45C896C6D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136231"/>
              </p:ext>
            </p:extLst>
          </p:nvPr>
        </p:nvGraphicFramePr>
        <p:xfrm>
          <a:off x="598892" y="1038832"/>
          <a:ext cx="11175742" cy="457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25310">
                  <a:extLst>
                    <a:ext uri="{9D8B030D-6E8A-4147-A177-3AD203B41FA5}">
                      <a16:colId xmlns:a16="http://schemas.microsoft.com/office/drawing/2014/main" val="4191794494"/>
                    </a:ext>
                  </a:extLst>
                </a:gridCol>
                <a:gridCol w="4286250">
                  <a:extLst>
                    <a:ext uri="{9D8B030D-6E8A-4147-A177-3AD203B41FA5}">
                      <a16:colId xmlns:a16="http://schemas.microsoft.com/office/drawing/2014/main" val="2193721680"/>
                    </a:ext>
                  </a:extLst>
                </a:gridCol>
                <a:gridCol w="2800350">
                  <a:extLst>
                    <a:ext uri="{9D8B030D-6E8A-4147-A177-3AD203B41FA5}">
                      <a16:colId xmlns:a16="http://schemas.microsoft.com/office/drawing/2014/main" val="965895550"/>
                    </a:ext>
                  </a:extLst>
                </a:gridCol>
                <a:gridCol w="1563832">
                  <a:extLst>
                    <a:ext uri="{9D8B030D-6E8A-4147-A177-3AD203B41FA5}">
                      <a16:colId xmlns:a16="http://schemas.microsoft.com/office/drawing/2014/main" val="318797737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US" sz="1600" dirty="0"/>
                        <a:t>Area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Key Aspect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ormat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ime Commit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685677813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dvance non-technical best practices for migrate large-scale workloads.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On demand videos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.5 h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40144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You will learn advance non-technical best practices for migrate large-scale workloads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Live sessions for tools</a:t>
                      </a:r>
                    </a:p>
                    <a:p>
                      <a:pPr marL="171450" indent="-171450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On demand videos for templates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 h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2572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mmary </a:t>
                      </a: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 what we have learned from cloud economics, how does Cloud Economics do it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Live session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0 mi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0119541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You will learn what is important to hear for CXOs, the most important financial metrics for project analysis and decision-making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Live session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 mi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9553392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Business case cost optimization levers including guidance on implementa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On Demand</a:t>
                      </a:r>
                    </a:p>
                    <a:p>
                      <a:pPr marL="171450" marR="0" lvl="0" indent="-17145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Live session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5 mi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764155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Hands-on experience calculating a business case using the tools and templates explored during the training</a:t>
                      </a:r>
                      <a:endParaRPr lang="en-US" sz="1200" dirty="0">
                        <a:solidFill>
                          <a:schemeClr val="tx2"/>
                        </a:solidFill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1450" indent="-171450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noProof="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Live session to set the scene and to discuss the outcomes</a:t>
                      </a:r>
                    </a:p>
                    <a:p>
                      <a:pPr marL="171450" indent="-171450" defTabSz="932472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noProof="0" dirty="0">
                          <a:solidFill>
                            <a:schemeClr val="tx2"/>
                          </a:solidFill>
                          <a:ea typeface="Segoe UI" pitchFamily="34" charset="0"/>
                          <a:cs typeface="Segoe UI" pitchFamily="34" charset="0"/>
                        </a:rPr>
                        <a:t>Self-study and business case prep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6 h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246199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C530DF-FFA1-4070-93B5-39FB56836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22" y="437432"/>
            <a:ext cx="11652356" cy="899665"/>
          </a:xfrm>
        </p:spPr>
        <p:txBody>
          <a:bodyPr/>
          <a:lstStyle/>
          <a:p>
            <a:r>
              <a:rPr lang="en-US" sz="3200" dirty="0"/>
              <a:t>Program</a:t>
            </a:r>
            <a:r>
              <a:rPr lang="de-DE" dirty="0"/>
              <a:t> structure and engagement commitment </a:t>
            </a:r>
            <a:endParaRPr lang="en-US" dirty="0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276BA73D-645C-44F5-8091-279B11E9CB05}"/>
              </a:ext>
            </a:extLst>
          </p:cNvPr>
          <p:cNvSpPr/>
          <p:nvPr/>
        </p:nvSpPr>
        <p:spPr bwMode="auto">
          <a:xfrm>
            <a:off x="589367" y="1571626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Cloud Economics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Accreditation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A6CD380A-2F33-4F4C-8F13-25E0EFF9D8CE}"/>
              </a:ext>
            </a:extLst>
          </p:cNvPr>
          <p:cNvSpPr/>
          <p:nvPr/>
        </p:nvSpPr>
        <p:spPr bwMode="auto">
          <a:xfrm>
            <a:off x="589367" y="2256404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Partner Migration Business Case</a:t>
            </a:r>
            <a:endParaRPr lang="en-US" sz="1400" b="1" dirty="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C70A26F2-79B6-4B33-9C26-5BD8DDCAB46E}"/>
              </a:ext>
            </a:extLst>
          </p:cNvPr>
          <p:cNvSpPr/>
          <p:nvPr/>
        </p:nvSpPr>
        <p:spPr bwMode="auto">
          <a:xfrm>
            <a:off x="589367" y="2941182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Cloud Economics Overview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9450CC0C-AFC1-476E-A70E-7064A56FF2D8}"/>
              </a:ext>
            </a:extLst>
          </p:cNvPr>
          <p:cNvSpPr/>
          <p:nvPr/>
        </p:nvSpPr>
        <p:spPr bwMode="auto">
          <a:xfrm>
            <a:off x="598892" y="3625960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Financial Overview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97DA6725-9153-48D9-BA8B-C66CBFF396D0}"/>
              </a:ext>
            </a:extLst>
          </p:cNvPr>
          <p:cNvSpPr/>
          <p:nvPr/>
        </p:nvSpPr>
        <p:spPr bwMode="auto">
          <a:xfrm>
            <a:off x="598892" y="4310738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AWS Cost 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Optimization Levers</a:t>
            </a: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06CB54CA-B7CC-4B9F-BC57-1FA44A2AF458}"/>
              </a:ext>
            </a:extLst>
          </p:cNvPr>
          <p:cNvSpPr/>
          <p:nvPr/>
        </p:nvSpPr>
        <p:spPr bwMode="auto">
          <a:xfrm>
            <a:off x="589367" y="4995517"/>
            <a:ext cx="2377440" cy="548640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1"/>
                </a:solidFill>
              </a:rPr>
              <a:t>Case Study Practice</a:t>
            </a:r>
          </a:p>
        </p:txBody>
      </p:sp>
      <p:sp>
        <p:nvSpPr>
          <p:cNvPr id="32" name="Arrow: Pentagon 31">
            <a:extLst>
              <a:ext uri="{FF2B5EF4-FFF2-40B4-BE49-F238E27FC236}">
                <a16:creationId xmlns:a16="http://schemas.microsoft.com/office/drawing/2014/main" id="{1357981F-B19C-4B78-9186-775BAA49C8CB}"/>
              </a:ext>
            </a:extLst>
          </p:cNvPr>
          <p:cNvSpPr/>
          <p:nvPr/>
        </p:nvSpPr>
        <p:spPr bwMode="auto">
          <a:xfrm>
            <a:off x="598893" y="5756494"/>
            <a:ext cx="2087157" cy="455734"/>
          </a:xfrm>
          <a:prstGeom prst="homePlate">
            <a:avLst/>
          </a:prstGeom>
          <a:noFill/>
          <a:ln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2"/>
                </a:solidFill>
              </a:rPr>
              <a:t>Engagement Commitment</a:t>
            </a:r>
            <a:endParaRPr lang="en-US" sz="1200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0E3E336-C50F-4CD5-B7AA-1CFE6D1434C7}"/>
              </a:ext>
            </a:extLst>
          </p:cNvPr>
          <p:cNvSpPr/>
          <p:nvPr/>
        </p:nvSpPr>
        <p:spPr bwMode="auto">
          <a:xfrm>
            <a:off x="2976332" y="5756494"/>
            <a:ext cx="5207548" cy="54521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2-3 candidates completing full curriculum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AWS PDM Supervision &amp; Cloud Economics accompaniment</a:t>
            </a:r>
            <a:endParaRPr lang="en-US" sz="1200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2766818-7D0A-492D-886B-4B78769BB86C}"/>
              </a:ext>
            </a:extLst>
          </p:cNvPr>
          <p:cNvSpPr/>
          <p:nvPr/>
        </p:nvSpPr>
        <p:spPr bwMode="auto">
          <a:xfrm>
            <a:off x="10537221" y="5769160"/>
            <a:ext cx="935851" cy="36933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15h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7F3E16-0304-4D93-B1CE-87238CEE2E88}"/>
              </a:ext>
            </a:extLst>
          </p:cNvPr>
          <p:cNvCxnSpPr/>
          <p:nvPr/>
        </p:nvCxnSpPr>
        <p:spPr>
          <a:xfrm>
            <a:off x="589366" y="5667500"/>
            <a:ext cx="11155680" cy="0"/>
          </a:xfrm>
          <a:prstGeom prst="line">
            <a:avLst/>
          </a:prstGeom>
          <a:ln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0810F9-2B6D-495A-96F0-698755A503B0}"/>
              </a:ext>
            </a:extLst>
          </p:cNvPr>
          <p:cNvCxnSpPr/>
          <p:nvPr/>
        </p:nvCxnSpPr>
        <p:spPr>
          <a:xfrm flipV="1">
            <a:off x="589366" y="1495425"/>
            <a:ext cx="237744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9FA9B73-05AF-45E4-A409-77A305D4E1D3}"/>
              </a:ext>
            </a:extLst>
          </p:cNvPr>
          <p:cNvCxnSpPr/>
          <p:nvPr/>
        </p:nvCxnSpPr>
        <p:spPr>
          <a:xfrm flipV="1">
            <a:off x="3138575" y="1495425"/>
            <a:ext cx="411480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924852B-ADF4-42A4-B653-7114BB3A04A2}"/>
              </a:ext>
            </a:extLst>
          </p:cNvPr>
          <p:cNvCxnSpPr/>
          <p:nvPr/>
        </p:nvCxnSpPr>
        <p:spPr>
          <a:xfrm flipV="1">
            <a:off x="7450281" y="1495425"/>
            <a:ext cx="256032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7D01CA5-0313-4C4C-A315-7FD21EB7D779}"/>
              </a:ext>
            </a:extLst>
          </p:cNvPr>
          <p:cNvCxnSpPr>
            <a:cxnSpLocks/>
          </p:cNvCxnSpPr>
          <p:nvPr/>
        </p:nvCxnSpPr>
        <p:spPr>
          <a:xfrm>
            <a:off x="10227907" y="1495425"/>
            <a:ext cx="1554480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7868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/>
      <p:bldP spid="4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9EF04-F15C-CA5D-1DAF-2352180352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539" y="3161234"/>
            <a:ext cx="7088661" cy="341632"/>
          </a:xfrm>
        </p:spPr>
        <p:txBody>
          <a:bodyPr/>
          <a:lstStyle/>
          <a:p>
            <a:r>
              <a:rPr lang="en-MX" sz="1800" dirty="0"/>
              <a:t>How can I support our Partners?</a:t>
            </a:r>
            <a:endParaRPr lang="en-MX" sz="3200" b="0" dirty="0"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DE51FE6-3AAC-9D13-88CD-F7C6B52EB91D}"/>
              </a:ext>
            </a:extLst>
          </p:cNvPr>
          <p:cNvSpPr txBox="1">
            <a:spLocks/>
          </p:cNvSpPr>
          <p:nvPr/>
        </p:nvSpPr>
        <p:spPr>
          <a:xfrm>
            <a:off x="226539" y="2404104"/>
            <a:ext cx="7088661" cy="646331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j-ea"/>
                <a:cs typeface="+mj-cs"/>
              </a:defRPr>
            </a:lvl1pPr>
          </a:lstStyle>
          <a:p>
            <a:r>
              <a:rPr lang="en-MX" sz="4000" dirty="0"/>
              <a:t>AWS One Team</a:t>
            </a:r>
          </a:p>
        </p:txBody>
      </p:sp>
    </p:spTree>
    <p:extLst>
      <p:ext uri="{BB962C8B-B14F-4D97-AF65-F5344CB8AC3E}">
        <p14:creationId xmlns:p14="http://schemas.microsoft.com/office/powerpoint/2010/main" val="396118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81C510-2B7D-FDE8-50DC-E2255CA9C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820" y="588673"/>
            <a:ext cx="11262360" cy="535531"/>
          </a:xfrm>
        </p:spPr>
        <p:txBody>
          <a:bodyPr/>
          <a:lstStyle/>
          <a:p>
            <a:r>
              <a:rPr lang="en-MX" dirty="0"/>
              <a:t>How can I support our Partners?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92557B45-8D1A-219E-D3FF-B0BC058B26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6676758"/>
              </p:ext>
            </p:extLst>
          </p:nvPr>
        </p:nvGraphicFramePr>
        <p:xfrm>
          <a:off x="2063750" y="1281113"/>
          <a:ext cx="6359525" cy="4987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064500" imgH="6324600" progId="Excel.Sheet.12">
                  <p:embed/>
                </p:oleObj>
              </mc:Choice>
              <mc:Fallback>
                <p:oleObj name="Worksheet" r:id="rId2" imgW="8064500" imgH="6324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063750" y="1281113"/>
                        <a:ext cx="6359525" cy="4987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042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9EF04-F15C-CA5D-1DAF-2352180352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539" y="3161234"/>
            <a:ext cx="7088661" cy="535531"/>
          </a:xfrm>
        </p:spPr>
        <p:txBody>
          <a:bodyPr/>
          <a:lstStyle/>
          <a:p>
            <a:r>
              <a:rPr lang="en-MX" sz="3200" b="0" dirty="0">
                <a:ea typeface="+mn-ea"/>
                <a:cs typeface="+mn-cs"/>
              </a:rPr>
              <a:t>What do we need from you?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DE51FE6-3AAC-9D13-88CD-F7C6B52EB91D}"/>
              </a:ext>
            </a:extLst>
          </p:cNvPr>
          <p:cNvSpPr txBox="1">
            <a:spLocks/>
          </p:cNvSpPr>
          <p:nvPr/>
        </p:nvSpPr>
        <p:spPr>
          <a:xfrm>
            <a:off x="226539" y="2404104"/>
            <a:ext cx="7088661" cy="757130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 baseline="0">
                <a:solidFill>
                  <a:schemeClr val="tx1"/>
                </a:solidFill>
                <a:latin typeface="Amazon Ember Display" panose="020F0603020204020204" pitchFamily="34" charset="0"/>
                <a:ea typeface="+mj-ea"/>
                <a:cs typeface="+mj-cs"/>
              </a:defRPr>
            </a:lvl1pPr>
          </a:lstStyle>
          <a:p>
            <a:r>
              <a:rPr lang="en-MX" dirty="0"/>
              <a:t>Partner</a:t>
            </a:r>
            <a:endParaRPr lang="en-MX" sz="4000" dirty="0"/>
          </a:p>
        </p:txBody>
      </p:sp>
    </p:spTree>
    <p:extLst>
      <p:ext uri="{BB962C8B-B14F-4D97-AF65-F5344CB8AC3E}">
        <p14:creationId xmlns:p14="http://schemas.microsoft.com/office/powerpoint/2010/main" val="244524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AWS Confidential Dark">
  <a:themeElements>
    <a:clrScheme name="One Brand 2022 Dark">
      <a:dk1>
        <a:srgbClr val="000000"/>
      </a:dk1>
      <a:lt1>
        <a:sysClr val="window" lastClr="FFFFFF"/>
      </a:lt1>
      <a:dk2>
        <a:srgbClr val="232F3E"/>
      </a:dk2>
      <a:lt2>
        <a:srgbClr val="F1F3F3"/>
      </a:lt2>
      <a:accent1>
        <a:srgbClr val="FF8500"/>
      </a:accent1>
      <a:accent2>
        <a:srgbClr val="7C59ED"/>
      </a:accent2>
      <a:accent3>
        <a:srgbClr val="38EF7D"/>
      </a:accent3>
      <a:accent4>
        <a:srgbClr val="F46DBA"/>
      </a:accent4>
      <a:accent5>
        <a:srgbClr val="9FFCEA"/>
      </a:accent5>
      <a:accent6>
        <a:srgbClr val="FBD8BF"/>
      </a:accent6>
      <a:hlink>
        <a:srgbClr val="41B1E8"/>
      </a:hlink>
      <a:folHlink>
        <a:srgbClr val="41B1E8"/>
      </a:folHlink>
    </a:clrScheme>
    <a:fontScheme name="Ember Heavy and Ember">
      <a:majorFont>
        <a:latin typeface="Amazon Ember Heavy"/>
        <a:ea typeface=""/>
        <a:cs typeface=""/>
      </a:majorFont>
      <a:minorFont>
        <a:latin typeface="Amazon Emb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45720" tIns="45720" rIns="4572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7" id="{6D756A43-8A33-754F-8EF9-8BB85E52246D}" vid="{E00214FC-C3F0-7743-825F-601FDA50C156}"/>
    </a:ext>
  </a:extLst>
</a:theme>
</file>

<file path=ppt/theme/theme2.xml><?xml version="1.0" encoding="utf-8"?>
<a:theme xmlns:a="http://schemas.openxmlformats.org/drawingml/2006/main" name="Office Theme">
  <a:themeElements>
    <a:clrScheme name="One Brand 2022 Dark">
      <a:dk1>
        <a:srgbClr val="000000"/>
      </a:dk1>
      <a:lt1>
        <a:sysClr val="window" lastClr="FFFFFF"/>
      </a:lt1>
      <a:dk2>
        <a:srgbClr val="232F3E"/>
      </a:dk2>
      <a:lt2>
        <a:srgbClr val="F1F3F3"/>
      </a:lt2>
      <a:accent1>
        <a:srgbClr val="FF8500"/>
      </a:accent1>
      <a:accent2>
        <a:srgbClr val="7C59ED"/>
      </a:accent2>
      <a:accent3>
        <a:srgbClr val="38EF7D"/>
      </a:accent3>
      <a:accent4>
        <a:srgbClr val="F46DBA"/>
      </a:accent4>
      <a:accent5>
        <a:srgbClr val="9FFCEA"/>
      </a:accent5>
      <a:accent6>
        <a:srgbClr val="FBD8BF"/>
      </a:accent6>
      <a:hlink>
        <a:srgbClr val="41B1E8"/>
      </a:hlink>
      <a:folHlink>
        <a:srgbClr val="41B1E8"/>
      </a:folHlink>
    </a:clrScheme>
    <a:fontScheme name="Ember Heavy and Normal">
      <a:majorFont>
        <a:latin typeface="Amazon Ember Heavy"/>
        <a:ea typeface=""/>
        <a:cs typeface=""/>
      </a:majorFont>
      <a:minorFont>
        <a:latin typeface="Amazon Emb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ne Brand 2022 Dark">
      <a:dk1>
        <a:srgbClr val="000000"/>
      </a:dk1>
      <a:lt1>
        <a:sysClr val="window" lastClr="FFFFFF"/>
      </a:lt1>
      <a:dk2>
        <a:srgbClr val="232F3E"/>
      </a:dk2>
      <a:lt2>
        <a:srgbClr val="F1F3F3"/>
      </a:lt2>
      <a:accent1>
        <a:srgbClr val="FF8500"/>
      </a:accent1>
      <a:accent2>
        <a:srgbClr val="7C59ED"/>
      </a:accent2>
      <a:accent3>
        <a:srgbClr val="38EF7D"/>
      </a:accent3>
      <a:accent4>
        <a:srgbClr val="F46DBA"/>
      </a:accent4>
      <a:accent5>
        <a:srgbClr val="9FFCEA"/>
      </a:accent5>
      <a:accent6>
        <a:srgbClr val="FBD8BF"/>
      </a:accent6>
      <a:hlink>
        <a:srgbClr val="41B1E8"/>
      </a:hlink>
      <a:folHlink>
        <a:srgbClr val="41B1E8"/>
      </a:folHlink>
    </a:clrScheme>
    <a:fontScheme name="Ember Heavy and Normal">
      <a:majorFont>
        <a:latin typeface="Amazon Ember Heavy"/>
        <a:ea typeface=""/>
        <a:cs typeface=""/>
      </a:majorFont>
      <a:minorFont>
        <a:latin typeface="Amazon Emb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WS_Powerpoint Template_Confidential_Dark_2022</Template>
  <TotalTime>30808</TotalTime>
  <Words>733</Words>
  <Application>Microsoft Macintosh PowerPoint</Application>
  <PresentationFormat>Widescreen</PresentationFormat>
  <Paragraphs>136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mazon Ember</vt:lpstr>
      <vt:lpstr>Amazon Ember Display</vt:lpstr>
      <vt:lpstr>Amazon Ember Heavy</vt:lpstr>
      <vt:lpstr>Amazon Ember Regular</vt:lpstr>
      <vt:lpstr>Arial</vt:lpstr>
      <vt:lpstr>Lucida Console</vt:lpstr>
      <vt:lpstr>Segoe UI</vt:lpstr>
      <vt:lpstr>Wingdings</vt:lpstr>
      <vt:lpstr>AWS Confidential Dark</vt:lpstr>
      <vt:lpstr>think-cell Slide</vt:lpstr>
      <vt:lpstr>Microsoft Excel Worksheet</vt:lpstr>
      <vt:lpstr>Cloud Economics</vt:lpstr>
      <vt:lpstr>PowerPoint Presentation</vt:lpstr>
      <vt:lpstr>The Objective of this training</vt:lpstr>
      <vt:lpstr>What is in the scope?</vt:lpstr>
      <vt:lpstr>What is in for you?</vt:lpstr>
      <vt:lpstr>Program structure and engagement commitment </vt:lpstr>
      <vt:lpstr>How can I support our Partners?</vt:lpstr>
      <vt:lpstr>How can I support our Partners?</vt:lpstr>
      <vt:lpstr>What do we need from you?</vt:lpstr>
      <vt:lpstr>Champion Suggested Job Descrip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template includes</dc:title>
  <dc:subject/>
  <dc:creator/>
  <cp:keywords/>
  <dc:description/>
  <cp:lastModifiedBy>Microsoft Office User</cp:lastModifiedBy>
  <cp:revision>332</cp:revision>
  <dcterms:created xsi:type="dcterms:W3CDTF">2022-07-27T21:46:31Z</dcterms:created>
  <dcterms:modified xsi:type="dcterms:W3CDTF">2023-04-24T19:00:05Z</dcterms:modified>
  <cp:category/>
</cp:coreProperties>
</file>